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334" r:id="rId5"/>
    <p:sldId id="382" r:id="rId6"/>
    <p:sldId id="364" r:id="rId7"/>
    <p:sldId id="365" r:id="rId8"/>
    <p:sldId id="359" r:id="rId9"/>
    <p:sldId id="344" r:id="rId10"/>
    <p:sldId id="381" r:id="rId11"/>
    <p:sldId id="380" r:id="rId12"/>
    <p:sldId id="384" r:id="rId13"/>
    <p:sldId id="360" r:id="rId14"/>
    <p:sldId id="385" r:id="rId15"/>
    <p:sldId id="386" r:id="rId16"/>
    <p:sldId id="338" r:id="rId17"/>
    <p:sldId id="361" r:id="rId18"/>
  </p:sldIdLst>
  <p:sldSz cx="12192000" cy="6858000"/>
  <p:notesSz cx="6858000" cy="9144000"/>
  <p:embeddedFontLst>
    <p:embeddedFont>
      <p:font typeface="Frutiger LT Com 45 Light" panose="020B0303030504020204" pitchFamily="34" charset="0"/>
      <p:regular r:id="rId21"/>
      <p:bold r:id="rId22"/>
      <p:italic r:id="rId23"/>
      <p:boldItalic r:id="rId24"/>
    </p:embeddedFont>
    <p:embeddedFont>
      <p:font typeface="Frutiger LT Com 65 Bold" panose="020B0803030504020204" pitchFamily="34" charset="0"/>
      <p:bold r:id="rId25"/>
    </p:embeddedFont>
    <p:embeddedFont>
      <p:font typeface="Frutiger LT Com 75 Black" panose="020B0A03040504030204" pitchFamily="34" charset="0"/>
      <p:bold r:id="rId26"/>
    </p:embeddedFont>
  </p:embeddedFontLst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B014F6D-3432-4C32-B466-2A04446911ED}">
          <p14:sldIdLst>
            <p14:sldId id="334"/>
            <p14:sldId id="382"/>
            <p14:sldId id="364"/>
            <p14:sldId id="365"/>
            <p14:sldId id="359"/>
            <p14:sldId id="344"/>
            <p14:sldId id="381"/>
            <p14:sldId id="380"/>
            <p14:sldId id="384"/>
            <p14:sldId id="360"/>
            <p14:sldId id="385"/>
            <p14:sldId id="386"/>
            <p14:sldId id="338"/>
            <p14:sldId id="3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C440"/>
    <a:srgbClr val="0BA2E3"/>
    <a:srgbClr val="005B7F"/>
    <a:srgbClr val="008598"/>
    <a:srgbClr val="00779A"/>
    <a:srgbClr val="A6A6A6"/>
    <a:srgbClr val="FFFFFF"/>
    <a:srgbClr val="014A6B"/>
    <a:srgbClr val="E5EEF2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85" autoAdjust="0"/>
    <p:restoredTop sz="96008" autoAdjust="0"/>
  </p:normalViewPr>
  <p:slideViewPr>
    <p:cSldViewPr snapToGrid="0" showGuides="1">
      <p:cViewPr varScale="1">
        <p:scale>
          <a:sx n="114" d="100"/>
          <a:sy n="114" d="100"/>
        </p:scale>
        <p:origin x="18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font" Target="fonts/font1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Chevron3" loCatId="cycl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 anchor="t"/>
        <a:lstStyle/>
        <a:p>
          <a:pPr marL="0">
            <a:lnSpc>
              <a:spcPct val="110000"/>
            </a:lnSpc>
            <a:buNone/>
          </a:pPr>
          <a:r>
            <a:rPr lang="en-US" sz="1400" dirty="0">
              <a:latin typeface="Frutiger LT Com 65 Bold" panose="020B0803030504020204" pitchFamily="34" charset="0"/>
            </a:rPr>
            <a:t>Discover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 anchor="t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Publish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EE62A4F6-4AC4-435B-990E-81A71CE8CAC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/>
        </a:solidFill>
        <a:ln w="50800">
          <a:solidFill>
            <a:schemeClr val="bg1"/>
          </a:solidFill>
        </a:ln>
        <a:effectLst/>
      </dgm:spPr>
      <dgm:t>
        <a:bodyPr tIns="180000" anchor="t"/>
        <a:lstStyle/>
        <a:p>
          <a:pPr marL="0" algn="ctr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Share</a:t>
          </a:r>
          <a:endParaRPr lang="en-US" sz="1400" dirty="0"/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/>
        </a:p>
      </dgm:t>
    </dgm:pt>
    <dgm:pt modelId="{2A22E84C-3AA3-4E9C-AE5F-9C2FB0D7FB1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 anchor="t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Maintain Control</a:t>
          </a:r>
          <a:endParaRPr lang="en-US" sz="1400" dirty="0"/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/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/>
        </a:p>
      </dgm:t>
    </dgm:pt>
    <dgm:pt modelId="{AB306E7F-BBFE-4840-97DE-4860B97247CD}" type="pres">
      <dgm:prSet presAssocID="{B9C32B05-62EA-407A-B21C-2310C7945705}" presName="Name0" presStyleCnt="0">
        <dgm:presLayoutVars>
          <dgm:dir/>
          <dgm:resizeHandles val="exact"/>
        </dgm:presLayoutVars>
      </dgm:prSet>
      <dgm:spPr/>
    </dgm:pt>
    <dgm:pt modelId="{EEBB7446-DFDC-42E7-AB47-B8421EA468A9}" type="pres">
      <dgm:prSet presAssocID="{42D71409-67F9-455C-8C6D-716D284AAA6B}" presName="parTxOnly" presStyleLbl="node1" presStyleIdx="0" presStyleCnt="4">
        <dgm:presLayoutVars>
          <dgm:bulletEnabled val="1"/>
        </dgm:presLayoutVars>
      </dgm:prSet>
      <dgm:spPr/>
    </dgm:pt>
    <dgm:pt modelId="{6644FDFD-8865-40EE-8060-DA571F7E0764}" type="pres">
      <dgm:prSet presAssocID="{478B7D3C-9FB4-4BC6-90AC-49960560DECD}" presName="parSpace" presStyleCnt="0"/>
      <dgm:spPr/>
    </dgm:pt>
    <dgm:pt modelId="{D5760C75-B26F-4897-AC56-87D1B1AF99B3}" type="pres">
      <dgm:prSet presAssocID="{F66099B6-DBBD-4AB0-82D2-877B80F846F7}" presName="parTxOnly" presStyleLbl="node1" presStyleIdx="1" presStyleCnt="4">
        <dgm:presLayoutVars>
          <dgm:bulletEnabled val="1"/>
        </dgm:presLayoutVars>
      </dgm:prSet>
      <dgm:spPr/>
    </dgm:pt>
    <dgm:pt modelId="{9E51E38F-A185-4967-9675-379DFDB1B0B5}" type="pres">
      <dgm:prSet presAssocID="{BC531B32-9B0E-482E-BF91-65C61F17168D}" presName="parSpace" presStyleCnt="0"/>
      <dgm:spPr/>
    </dgm:pt>
    <dgm:pt modelId="{21EEABB0-51BC-4D84-95E8-3CD4442C9CEE}" type="pres">
      <dgm:prSet presAssocID="{EE62A4F6-4AC4-435B-990E-81A71CE8CAC7}" presName="parTxOnly" presStyleLbl="node1" presStyleIdx="2" presStyleCnt="4">
        <dgm:presLayoutVars>
          <dgm:bulletEnabled val="1"/>
        </dgm:presLayoutVars>
      </dgm:prSet>
      <dgm:spPr/>
    </dgm:pt>
    <dgm:pt modelId="{0805E2B7-574C-4BEF-ACEF-09DFF4878EC3}" type="pres">
      <dgm:prSet presAssocID="{389F9A93-0231-4877-8C41-5D5B8DD7AAC0}" presName="parSpace" presStyleCnt="0"/>
      <dgm:spPr/>
    </dgm:pt>
    <dgm:pt modelId="{DDB5AFF3-5D50-4F28-890C-0DC01191AA68}" type="pres">
      <dgm:prSet presAssocID="{2A22E84C-3AA3-4E9C-AE5F-9C2FB0D7FB11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748A181A-748B-4A90-9A55-1C1696C72B99}" type="presOf" srcId="{F66099B6-DBBD-4AB0-82D2-877B80F846F7}" destId="{D5760C75-B26F-4897-AC56-87D1B1AF99B3}" srcOrd="0" destOrd="0" presId="urn:microsoft.com/office/officeart/2005/8/layout/hChevron3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6DEA6769-F3F4-4C34-9FB9-470B077BD1AC}" type="presOf" srcId="{EE62A4F6-4AC4-435B-990E-81A71CE8CAC7}" destId="{21EEABB0-51BC-4D84-95E8-3CD4442C9CEE}" srcOrd="0" destOrd="0" presId="urn:microsoft.com/office/officeart/2005/8/layout/hChevron3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C4E171AE-01D3-406C-B08F-8C6CB2867BDE}" type="presOf" srcId="{2A22E84C-3AA3-4E9C-AE5F-9C2FB0D7FB11}" destId="{DDB5AFF3-5D50-4F28-890C-0DC01191AA68}" srcOrd="0" destOrd="0" presId="urn:microsoft.com/office/officeart/2005/8/layout/hChevron3"/>
    <dgm:cxn modelId="{771A36CD-2BA5-154E-AC00-01B6378AFB6D}" type="presOf" srcId="{B9C32B05-62EA-407A-B21C-2310C7945705}" destId="{AB306E7F-BBFE-4840-97DE-4860B97247CD}" srcOrd="0" destOrd="0" presId="urn:microsoft.com/office/officeart/2005/8/layout/hChevron3"/>
    <dgm:cxn modelId="{BEB859E7-C343-408E-86A1-667C27EE5761}" srcId="{B9C32B05-62EA-407A-B21C-2310C7945705}" destId="{2A22E84C-3AA3-4E9C-AE5F-9C2FB0D7FB11}" srcOrd="3" destOrd="0" parTransId="{6C025E55-DF42-4C5D-AFD5-6015FA053D46}" sibTransId="{744EA591-F199-49C2-B63A-82709D96C729}"/>
    <dgm:cxn modelId="{369C0DF4-4FC0-4BF6-B936-85AED4510005}" type="presOf" srcId="{42D71409-67F9-455C-8C6D-716D284AAA6B}" destId="{EEBB7446-DFDC-42E7-AB47-B8421EA468A9}" srcOrd="0" destOrd="0" presId="urn:microsoft.com/office/officeart/2005/8/layout/hChevron3"/>
    <dgm:cxn modelId="{DD9CDE25-D6B4-4572-A9FA-CFA8C847466D}" type="presParOf" srcId="{AB306E7F-BBFE-4840-97DE-4860B97247CD}" destId="{EEBB7446-DFDC-42E7-AB47-B8421EA468A9}" srcOrd="0" destOrd="0" presId="urn:microsoft.com/office/officeart/2005/8/layout/hChevron3"/>
    <dgm:cxn modelId="{C4F06107-74B3-4A00-A86F-F1A8EA8102F7}" type="presParOf" srcId="{AB306E7F-BBFE-4840-97DE-4860B97247CD}" destId="{6644FDFD-8865-40EE-8060-DA571F7E0764}" srcOrd="1" destOrd="0" presId="urn:microsoft.com/office/officeart/2005/8/layout/hChevron3"/>
    <dgm:cxn modelId="{F1E52400-EE90-4059-8546-C364A31736B4}" type="presParOf" srcId="{AB306E7F-BBFE-4840-97DE-4860B97247CD}" destId="{D5760C75-B26F-4897-AC56-87D1B1AF99B3}" srcOrd="2" destOrd="0" presId="urn:microsoft.com/office/officeart/2005/8/layout/hChevron3"/>
    <dgm:cxn modelId="{F937793B-4ECC-42E0-A990-292C79708392}" type="presParOf" srcId="{AB306E7F-BBFE-4840-97DE-4860B97247CD}" destId="{9E51E38F-A185-4967-9675-379DFDB1B0B5}" srcOrd="3" destOrd="0" presId="urn:microsoft.com/office/officeart/2005/8/layout/hChevron3"/>
    <dgm:cxn modelId="{AC2976C0-2283-4C25-A4C5-5A634A954D24}" type="presParOf" srcId="{AB306E7F-BBFE-4840-97DE-4860B97247CD}" destId="{21EEABB0-51BC-4D84-95E8-3CD4442C9CEE}" srcOrd="4" destOrd="0" presId="urn:microsoft.com/office/officeart/2005/8/layout/hChevron3"/>
    <dgm:cxn modelId="{FDED5121-B0DF-4AA2-AE1F-FAB20EEC86BF}" type="presParOf" srcId="{AB306E7F-BBFE-4840-97DE-4860B97247CD}" destId="{0805E2B7-574C-4BEF-ACEF-09DFF4878EC3}" srcOrd="5" destOrd="0" presId="urn:microsoft.com/office/officeart/2005/8/layout/hChevron3"/>
    <dgm:cxn modelId="{AB7A80C3-CFD1-44FB-81CF-100D1FCE6E92}" type="presParOf" srcId="{AB306E7F-BBFE-4840-97DE-4860B97247CD}" destId="{DDB5AFF3-5D50-4F28-890C-0DC01191AA68}" srcOrd="6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F9EA4E-5FBC-4645-BE80-060B08D93E94}" type="doc">
      <dgm:prSet loTypeId="urn:microsoft.com/office/officeart/2005/8/layout/gear1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87A981D-21CB-4428-9BFC-D211A2F14496}">
      <dgm:prSet phldrT="[Text]" custT="1"/>
      <dgm:spPr>
        <a:noFill/>
        <a:ln w="38100">
          <a:solidFill>
            <a:srgbClr val="179C7D"/>
          </a:solidFill>
        </a:ln>
      </dgm:spPr>
      <dgm:t>
        <a:bodyPr/>
        <a:lstStyle/>
        <a:p>
          <a:r>
            <a:rPr lang="en-GB" sz="1300" dirty="0">
              <a:solidFill>
                <a:schemeClr val="tx1"/>
              </a:solidFill>
              <a:sym typeface="Wingdings" panose="05000000000000000000" pitchFamily="2" charset="2"/>
            </a:rPr>
            <a:t>Separation of information flows (</a:t>
          </a:r>
          <a:r>
            <a:rPr lang="en-GB" sz="1300" b="1" dirty="0">
              <a:solidFill>
                <a:schemeClr val="tx1"/>
              </a:solidFill>
              <a:sym typeface="Wingdings" panose="05000000000000000000" pitchFamily="2" charset="2"/>
            </a:rPr>
            <a:t>control</a:t>
          </a:r>
          <a:r>
            <a:rPr lang="en-GB" sz="1300" dirty="0">
              <a:solidFill>
                <a:schemeClr val="tx1"/>
              </a:solidFill>
              <a:sym typeface="Wingdings" panose="05000000000000000000" pitchFamily="2" charset="2"/>
            </a:rPr>
            <a:t>) and data transfer (</a:t>
          </a:r>
          <a:r>
            <a:rPr lang="en-GB" sz="1300" b="1" dirty="0">
              <a:solidFill>
                <a:schemeClr val="tx1"/>
              </a:solidFill>
              <a:sym typeface="Wingdings" panose="05000000000000000000" pitchFamily="2" charset="2"/>
            </a:rPr>
            <a:t>exchange</a:t>
          </a:r>
          <a:r>
            <a:rPr lang="en-GB" sz="1300" dirty="0">
              <a:solidFill>
                <a:schemeClr val="tx1"/>
              </a:solidFill>
              <a:sym typeface="Wingdings" panose="05000000000000000000" pitchFamily="2" charset="2"/>
            </a:rPr>
            <a:t>)</a:t>
          </a:r>
          <a:endParaRPr lang="de-DE" sz="1300" dirty="0">
            <a:solidFill>
              <a:schemeClr val="tx1"/>
            </a:solidFill>
          </a:endParaRPr>
        </a:p>
      </dgm:t>
    </dgm:pt>
    <dgm:pt modelId="{7F316114-2989-4029-B3FC-0AA188EC42E2}" type="parTrans" cxnId="{D2B5FDD1-EF1D-48F8-8AC1-7F603B6C9228}">
      <dgm:prSet/>
      <dgm:spPr/>
      <dgm:t>
        <a:bodyPr/>
        <a:lstStyle/>
        <a:p>
          <a:endParaRPr lang="en-US"/>
        </a:p>
      </dgm:t>
    </dgm:pt>
    <dgm:pt modelId="{E0EFC91C-D6F3-4D78-B1A4-D50248459D69}" type="sibTrans" cxnId="{D2B5FDD1-EF1D-48F8-8AC1-7F603B6C9228}">
      <dgm:prSet/>
      <dgm:spPr>
        <a:solidFill>
          <a:schemeClr val="accent1">
            <a:alpha val="85000"/>
          </a:schemeClr>
        </a:solidFill>
      </dgm:spPr>
      <dgm:t>
        <a:bodyPr/>
        <a:lstStyle/>
        <a:p>
          <a:endParaRPr lang="en-US"/>
        </a:p>
      </dgm:t>
    </dgm:pt>
    <dgm:pt modelId="{CE40241C-583E-4495-B11D-93F825F2BB7D}">
      <dgm:prSet custT="1"/>
      <dgm:spPr>
        <a:noFill/>
        <a:ln w="38100">
          <a:solidFill>
            <a:srgbClr val="A6BBC8"/>
          </a:solidFill>
        </a:ln>
      </dgm:spPr>
      <dgm:t>
        <a:bodyPr/>
        <a:lstStyle/>
        <a:p>
          <a:r>
            <a:rPr lang="en-GB" sz="1300" dirty="0" err="1">
              <a:solidFill>
                <a:schemeClr val="tx1"/>
              </a:solidFill>
              <a:sym typeface="Wingdings" panose="05000000000000000000" pitchFamily="2" charset="2"/>
            </a:rPr>
            <a:t>Asynchro</a:t>
          </a:r>
          <a:r>
            <a:rPr lang="en-GB" sz="1300" dirty="0">
              <a:solidFill>
                <a:schemeClr val="tx1"/>
              </a:solidFill>
              <a:sym typeface="Wingdings" panose="05000000000000000000" pitchFamily="2" charset="2"/>
            </a:rPr>
            <a:t>-nous and highly available</a:t>
          </a:r>
        </a:p>
      </dgm:t>
    </dgm:pt>
    <dgm:pt modelId="{FC9B355B-F45A-433D-B93A-67997980B6C3}" type="parTrans" cxnId="{8D754141-A589-4CC9-9524-185799C1B0E3}">
      <dgm:prSet/>
      <dgm:spPr/>
      <dgm:t>
        <a:bodyPr/>
        <a:lstStyle/>
        <a:p>
          <a:endParaRPr lang="en-GB"/>
        </a:p>
      </dgm:t>
    </dgm:pt>
    <dgm:pt modelId="{AA051C5F-8DDF-4172-9B4F-3206F34E7945}" type="sibTrans" cxnId="{8D754141-A589-4CC9-9524-185799C1B0E3}">
      <dgm:prSet/>
      <dgm:spPr/>
      <dgm:t>
        <a:bodyPr/>
        <a:lstStyle/>
        <a:p>
          <a:endParaRPr lang="en-GB"/>
        </a:p>
      </dgm:t>
    </dgm:pt>
    <dgm:pt modelId="{142131CF-B7AC-4AAF-8200-0B4F6A204D9C}">
      <dgm:prSet/>
      <dgm:spPr/>
      <dgm:t>
        <a:bodyPr/>
        <a:lstStyle/>
        <a:p>
          <a:endParaRPr lang="en-GB"/>
        </a:p>
      </dgm:t>
    </dgm:pt>
    <dgm:pt modelId="{10193C45-90D1-4F0A-BB75-2C74480E4478}" type="parTrans" cxnId="{DE043BC9-C273-46F4-8EA2-087BC2F4E463}">
      <dgm:prSet/>
      <dgm:spPr/>
      <dgm:t>
        <a:bodyPr/>
        <a:lstStyle/>
        <a:p>
          <a:endParaRPr lang="en-GB"/>
        </a:p>
      </dgm:t>
    </dgm:pt>
    <dgm:pt modelId="{31FE0090-F053-432F-AEED-EC063FCA8283}" type="sibTrans" cxnId="{DE043BC9-C273-46F4-8EA2-087BC2F4E463}">
      <dgm:prSet/>
      <dgm:spPr/>
      <dgm:t>
        <a:bodyPr/>
        <a:lstStyle/>
        <a:p>
          <a:endParaRPr lang="en-GB"/>
        </a:p>
      </dgm:t>
    </dgm:pt>
    <dgm:pt modelId="{11CB0914-2003-47B3-ADC4-D7E04D110DF5}">
      <dgm:prSet/>
      <dgm:spPr/>
      <dgm:t>
        <a:bodyPr/>
        <a:lstStyle/>
        <a:p>
          <a:endParaRPr lang="en-GB"/>
        </a:p>
      </dgm:t>
    </dgm:pt>
    <dgm:pt modelId="{536287F6-6618-4804-943C-A27C3A793DA0}" type="parTrans" cxnId="{406C1D06-71DD-4601-B1CE-A9297FA875DC}">
      <dgm:prSet/>
      <dgm:spPr/>
      <dgm:t>
        <a:bodyPr/>
        <a:lstStyle/>
        <a:p>
          <a:endParaRPr lang="en-GB"/>
        </a:p>
      </dgm:t>
    </dgm:pt>
    <dgm:pt modelId="{08C34777-8016-4997-8CFD-489C983D9194}" type="sibTrans" cxnId="{406C1D06-71DD-4601-B1CE-A9297FA875DC}">
      <dgm:prSet/>
      <dgm:spPr/>
      <dgm:t>
        <a:bodyPr/>
        <a:lstStyle/>
        <a:p>
          <a:endParaRPr lang="en-GB"/>
        </a:p>
      </dgm:t>
    </dgm:pt>
    <dgm:pt modelId="{925A45B1-10B1-4788-B94F-6481BAC90143}">
      <dgm:prSet/>
      <dgm:spPr/>
      <dgm:t>
        <a:bodyPr/>
        <a:lstStyle/>
        <a:p>
          <a:endParaRPr lang="en-GB"/>
        </a:p>
      </dgm:t>
    </dgm:pt>
    <dgm:pt modelId="{EA0A953A-64FA-49B6-8161-AC2E2E4FD697}" type="parTrans" cxnId="{8B6C5384-B3A3-4BCF-ACE9-C61C3B5EAC5A}">
      <dgm:prSet/>
      <dgm:spPr/>
      <dgm:t>
        <a:bodyPr/>
        <a:lstStyle/>
        <a:p>
          <a:endParaRPr lang="en-GB"/>
        </a:p>
      </dgm:t>
    </dgm:pt>
    <dgm:pt modelId="{372C4534-97A8-4458-8F53-2E6FA6068FE1}" type="sibTrans" cxnId="{8B6C5384-B3A3-4BCF-ACE9-C61C3B5EAC5A}">
      <dgm:prSet/>
      <dgm:spPr/>
      <dgm:t>
        <a:bodyPr/>
        <a:lstStyle/>
        <a:p>
          <a:endParaRPr lang="en-GB"/>
        </a:p>
      </dgm:t>
    </dgm:pt>
    <dgm:pt modelId="{C042A263-1100-4D16-8647-5AB68A414C5C}">
      <dgm:prSet/>
      <dgm:spPr/>
      <dgm:t>
        <a:bodyPr/>
        <a:lstStyle/>
        <a:p>
          <a:endParaRPr lang="en-GB"/>
        </a:p>
      </dgm:t>
    </dgm:pt>
    <dgm:pt modelId="{260A22BF-C8F8-4426-9471-A887DF9D7539}" type="parTrans" cxnId="{7DD010C1-3059-4B17-A5E4-A043AA1EDC02}">
      <dgm:prSet/>
      <dgm:spPr/>
      <dgm:t>
        <a:bodyPr/>
        <a:lstStyle/>
        <a:p>
          <a:endParaRPr lang="en-GB"/>
        </a:p>
      </dgm:t>
    </dgm:pt>
    <dgm:pt modelId="{207FD596-452C-484A-9869-D5756BF4DE71}" type="sibTrans" cxnId="{7DD010C1-3059-4B17-A5E4-A043AA1EDC02}">
      <dgm:prSet/>
      <dgm:spPr/>
      <dgm:t>
        <a:bodyPr/>
        <a:lstStyle/>
        <a:p>
          <a:endParaRPr lang="en-GB"/>
        </a:p>
      </dgm:t>
    </dgm:pt>
    <dgm:pt modelId="{FF591AB6-1BC3-471F-90DB-976F130FDA94}">
      <dgm:prSet phldrT="[Text]" custT="1"/>
      <dgm:spPr>
        <a:noFill/>
        <a:ln w="38100">
          <a:solidFill>
            <a:srgbClr val="005B7F"/>
          </a:solidFill>
        </a:ln>
      </dgm:spPr>
      <dgm:t>
        <a:bodyPr/>
        <a:lstStyle/>
        <a:p>
          <a:r>
            <a:rPr lang="en-GB" sz="1300" dirty="0">
              <a:solidFill>
                <a:schemeClr val="tx1"/>
              </a:solidFill>
              <a:sym typeface="Wingdings" panose="05000000000000000000" pitchFamily="2" charset="2"/>
            </a:rPr>
            <a:t>Modular and extensible</a:t>
          </a:r>
        </a:p>
      </dgm:t>
    </dgm:pt>
    <dgm:pt modelId="{3803C5A6-CA17-4A43-98DA-A324721EA0E0}" type="parTrans" cxnId="{CF2AF388-1EF3-4670-9731-96635003EBA4}">
      <dgm:prSet/>
      <dgm:spPr/>
      <dgm:t>
        <a:bodyPr/>
        <a:lstStyle/>
        <a:p>
          <a:endParaRPr lang="en-GB"/>
        </a:p>
      </dgm:t>
    </dgm:pt>
    <dgm:pt modelId="{4246557B-6084-4AC4-8C32-072EE5A47E4D}" type="sibTrans" cxnId="{CF2AF388-1EF3-4670-9731-96635003EBA4}">
      <dgm:prSet/>
      <dgm:spPr>
        <a:solidFill>
          <a:srgbClr val="005B7F"/>
        </a:solidFill>
      </dgm:spPr>
      <dgm:t>
        <a:bodyPr/>
        <a:lstStyle/>
        <a:p>
          <a:endParaRPr lang="en-GB"/>
        </a:p>
      </dgm:t>
    </dgm:pt>
    <dgm:pt modelId="{AD7C415B-5257-4BEE-97CD-851F8A68ADF1}" type="pres">
      <dgm:prSet presAssocID="{6DF9EA4E-5FBC-4645-BE80-060B08D93E9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64EA795-28DD-406F-B9E5-58A51A84B47E}" type="pres">
      <dgm:prSet presAssocID="{687A981D-21CB-4428-9BFC-D211A2F14496}" presName="gear1" presStyleLbl="node1" presStyleIdx="0" presStyleCnt="3">
        <dgm:presLayoutVars>
          <dgm:chMax val="1"/>
          <dgm:bulletEnabled val="1"/>
        </dgm:presLayoutVars>
      </dgm:prSet>
      <dgm:spPr/>
    </dgm:pt>
    <dgm:pt modelId="{8CAD2D48-8375-456B-8FDB-9B7AA5E9758C}" type="pres">
      <dgm:prSet presAssocID="{687A981D-21CB-4428-9BFC-D211A2F14496}" presName="gear1srcNode" presStyleLbl="node1" presStyleIdx="0" presStyleCnt="3"/>
      <dgm:spPr/>
    </dgm:pt>
    <dgm:pt modelId="{539BC399-FCE1-4725-A4B1-8DC92EF00931}" type="pres">
      <dgm:prSet presAssocID="{687A981D-21CB-4428-9BFC-D211A2F14496}" presName="gear1dstNode" presStyleLbl="node1" presStyleIdx="0" presStyleCnt="3"/>
      <dgm:spPr/>
    </dgm:pt>
    <dgm:pt modelId="{518FCE5A-52CC-4114-9D15-94CA97B05A30}" type="pres">
      <dgm:prSet presAssocID="{CE40241C-583E-4495-B11D-93F825F2BB7D}" presName="gear2" presStyleLbl="node1" presStyleIdx="1" presStyleCnt="3">
        <dgm:presLayoutVars>
          <dgm:chMax val="1"/>
          <dgm:bulletEnabled val="1"/>
        </dgm:presLayoutVars>
      </dgm:prSet>
      <dgm:spPr/>
    </dgm:pt>
    <dgm:pt modelId="{0B91BC60-B11A-491A-AE2B-411A08CB4920}" type="pres">
      <dgm:prSet presAssocID="{CE40241C-583E-4495-B11D-93F825F2BB7D}" presName="gear2srcNode" presStyleLbl="node1" presStyleIdx="1" presStyleCnt="3"/>
      <dgm:spPr/>
    </dgm:pt>
    <dgm:pt modelId="{876B31D1-18E6-494D-90A4-A216BE093098}" type="pres">
      <dgm:prSet presAssocID="{CE40241C-583E-4495-B11D-93F825F2BB7D}" presName="gear2dstNode" presStyleLbl="node1" presStyleIdx="1" presStyleCnt="3"/>
      <dgm:spPr/>
    </dgm:pt>
    <dgm:pt modelId="{3A67FEDC-EF38-4689-B1A9-322871A4AEA0}" type="pres">
      <dgm:prSet presAssocID="{FF591AB6-1BC3-471F-90DB-976F130FDA94}" presName="gear3" presStyleLbl="node1" presStyleIdx="2" presStyleCnt="3"/>
      <dgm:spPr/>
    </dgm:pt>
    <dgm:pt modelId="{CDDF21E8-CBA5-49AF-9138-4484B4177A7C}" type="pres">
      <dgm:prSet presAssocID="{FF591AB6-1BC3-471F-90DB-976F130FDA94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1DB5CACB-301C-4201-B72B-121741F8D752}" type="pres">
      <dgm:prSet presAssocID="{FF591AB6-1BC3-471F-90DB-976F130FDA94}" presName="gear3srcNode" presStyleLbl="node1" presStyleIdx="2" presStyleCnt="3"/>
      <dgm:spPr/>
    </dgm:pt>
    <dgm:pt modelId="{F23266A7-E4E2-44C0-B8C0-F1AF4AE333B3}" type="pres">
      <dgm:prSet presAssocID="{FF591AB6-1BC3-471F-90DB-976F130FDA94}" presName="gear3dstNode" presStyleLbl="node1" presStyleIdx="2" presStyleCnt="3"/>
      <dgm:spPr/>
    </dgm:pt>
    <dgm:pt modelId="{3E19053F-BAC6-4D46-A39C-19FA9AAFE77D}" type="pres">
      <dgm:prSet presAssocID="{E0EFC91C-D6F3-4D78-B1A4-D50248459D69}" presName="connector1" presStyleLbl="sibTrans2D1" presStyleIdx="0" presStyleCnt="3"/>
      <dgm:spPr/>
    </dgm:pt>
    <dgm:pt modelId="{94E30E08-9F50-40F2-9BAA-F3162747CE44}" type="pres">
      <dgm:prSet presAssocID="{AA051C5F-8DDF-4172-9B4F-3206F34E7945}" presName="connector2" presStyleLbl="sibTrans2D1" presStyleIdx="1" presStyleCnt="3"/>
      <dgm:spPr/>
    </dgm:pt>
    <dgm:pt modelId="{74005D3F-9221-42F5-A157-F2D8605EA847}" type="pres">
      <dgm:prSet presAssocID="{4246557B-6084-4AC4-8C32-072EE5A47E4D}" presName="connector3" presStyleLbl="sibTrans2D1" presStyleIdx="2" presStyleCnt="3"/>
      <dgm:spPr/>
    </dgm:pt>
  </dgm:ptLst>
  <dgm:cxnLst>
    <dgm:cxn modelId="{406C1D06-71DD-4601-B1CE-A9297FA875DC}" srcId="{6DF9EA4E-5FBC-4645-BE80-060B08D93E94}" destId="{11CB0914-2003-47B3-ADC4-D7E04D110DF5}" srcOrd="4" destOrd="0" parTransId="{536287F6-6618-4804-943C-A27C3A793DA0}" sibTransId="{08C34777-8016-4997-8CFD-489C983D9194}"/>
    <dgm:cxn modelId="{8E8D6B19-A40D-4B00-BEF5-51109CDE8459}" type="presOf" srcId="{FF591AB6-1BC3-471F-90DB-976F130FDA94}" destId="{CDDF21E8-CBA5-49AF-9138-4484B4177A7C}" srcOrd="1" destOrd="0" presId="urn:microsoft.com/office/officeart/2005/8/layout/gear1"/>
    <dgm:cxn modelId="{8D754141-A589-4CC9-9524-185799C1B0E3}" srcId="{6DF9EA4E-5FBC-4645-BE80-060B08D93E94}" destId="{CE40241C-583E-4495-B11D-93F825F2BB7D}" srcOrd="1" destOrd="0" parTransId="{FC9B355B-F45A-433D-B93A-67997980B6C3}" sibTransId="{AA051C5F-8DDF-4172-9B4F-3206F34E7945}"/>
    <dgm:cxn modelId="{2A32F362-52CB-40C8-A1AD-0C6720374401}" type="presOf" srcId="{687A981D-21CB-4428-9BFC-D211A2F14496}" destId="{8CAD2D48-8375-456B-8FDB-9B7AA5E9758C}" srcOrd="1" destOrd="0" presId="urn:microsoft.com/office/officeart/2005/8/layout/gear1"/>
    <dgm:cxn modelId="{24FD8F6A-B12C-440A-8EAD-A5A319E30263}" type="presOf" srcId="{687A981D-21CB-4428-9BFC-D211A2F14496}" destId="{539BC399-FCE1-4725-A4B1-8DC92EF00931}" srcOrd="2" destOrd="0" presId="urn:microsoft.com/office/officeart/2005/8/layout/gear1"/>
    <dgm:cxn modelId="{C4ACF74E-04BC-4B2C-A173-45E1ED39DCD0}" type="presOf" srcId="{FF591AB6-1BC3-471F-90DB-976F130FDA94}" destId="{3A67FEDC-EF38-4689-B1A9-322871A4AEA0}" srcOrd="0" destOrd="0" presId="urn:microsoft.com/office/officeart/2005/8/layout/gear1"/>
    <dgm:cxn modelId="{44422775-7FD3-4945-9FB5-1415CEBEC698}" type="presOf" srcId="{FF591AB6-1BC3-471F-90DB-976F130FDA94}" destId="{F23266A7-E4E2-44C0-B8C0-F1AF4AE333B3}" srcOrd="3" destOrd="0" presId="urn:microsoft.com/office/officeart/2005/8/layout/gear1"/>
    <dgm:cxn modelId="{F26AEF75-265D-4980-ABA0-19E6F17E7145}" type="presOf" srcId="{AA051C5F-8DDF-4172-9B4F-3206F34E7945}" destId="{94E30E08-9F50-40F2-9BAA-F3162747CE44}" srcOrd="0" destOrd="0" presId="urn:microsoft.com/office/officeart/2005/8/layout/gear1"/>
    <dgm:cxn modelId="{2C03CC83-7D42-4924-8013-DB82925180F6}" type="presOf" srcId="{FF591AB6-1BC3-471F-90DB-976F130FDA94}" destId="{1DB5CACB-301C-4201-B72B-121741F8D752}" srcOrd="2" destOrd="0" presId="urn:microsoft.com/office/officeart/2005/8/layout/gear1"/>
    <dgm:cxn modelId="{8B6C5384-B3A3-4BCF-ACE9-C61C3B5EAC5A}" srcId="{6DF9EA4E-5FBC-4645-BE80-060B08D93E94}" destId="{925A45B1-10B1-4788-B94F-6481BAC90143}" srcOrd="5" destOrd="0" parTransId="{EA0A953A-64FA-49B6-8161-AC2E2E4FD697}" sibTransId="{372C4534-97A8-4458-8F53-2E6FA6068FE1}"/>
    <dgm:cxn modelId="{CF2AF388-1EF3-4670-9731-96635003EBA4}" srcId="{6DF9EA4E-5FBC-4645-BE80-060B08D93E94}" destId="{FF591AB6-1BC3-471F-90DB-976F130FDA94}" srcOrd="2" destOrd="0" parTransId="{3803C5A6-CA17-4A43-98DA-A324721EA0E0}" sibTransId="{4246557B-6084-4AC4-8C32-072EE5A47E4D}"/>
    <dgm:cxn modelId="{F0CFF891-B7C7-47D6-8153-5184BED49652}" type="presOf" srcId="{CE40241C-583E-4495-B11D-93F825F2BB7D}" destId="{518FCE5A-52CC-4114-9D15-94CA97B05A30}" srcOrd="0" destOrd="0" presId="urn:microsoft.com/office/officeart/2005/8/layout/gear1"/>
    <dgm:cxn modelId="{7DD010C1-3059-4B17-A5E4-A043AA1EDC02}" srcId="{6DF9EA4E-5FBC-4645-BE80-060B08D93E94}" destId="{C042A263-1100-4D16-8647-5AB68A414C5C}" srcOrd="6" destOrd="0" parTransId="{260A22BF-C8F8-4426-9471-A887DF9D7539}" sibTransId="{207FD596-452C-484A-9869-D5756BF4DE71}"/>
    <dgm:cxn modelId="{C56179C5-BB39-4867-93C4-FBD32883EFDE}" type="presOf" srcId="{CE40241C-583E-4495-B11D-93F825F2BB7D}" destId="{876B31D1-18E6-494D-90A4-A216BE093098}" srcOrd="2" destOrd="0" presId="urn:microsoft.com/office/officeart/2005/8/layout/gear1"/>
    <dgm:cxn modelId="{DE043BC9-C273-46F4-8EA2-087BC2F4E463}" srcId="{6DF9EA4E-5FBC-4645-BE80-060B08D93E94}" destId="{142131CF-B7AC-4AAF-8200-0B4F6A204D9C}" srcOrd="3" destOrd="0" parTransId="{10193C45-90D1-4F0A-BB75-2C74480E4478}" sibTransId="{31FE0090-F053-432F-AEED-EC063FCA8283}"/>
    <dgm:cxn modelId="{4D863ACE-2477-4279-BE60-52DDECF7F3D1}" type="presOf" srcId="{6DF9EA4E-5FBC-4645-BE80-060B08D93E94}" destId="{AD7C415B-5257-4BEE-97CD-851F8A68ADF1}" srcOrd="0" destOrd="0" presId="urn:microsoft.com/office/officeart/2005/8/layout/gear1"/>
    <dgm:cxn modelId="{D2B5FDD1-EF1D-48F8-8AC1-7F603B6C9228}" srcId="{6DF9EA4E-5FBC-4645-BE80-060B08D93E94}" destId="{687A981D-21CB-4428-9BFC-D211A2F14496}" srcOrd="0" destOrd="0" parTransId="{7F316114-2989-4029-B3FC-0AA188EC42E2}" sibTransId="{E0EFC91C-D6F3-4D78-B1A4-D50248459D69}"/>
    <dgm:cxn modelId="{929D3CE4-621B-4F69-8E28-67A33DAEA1B3}" type="presOf" srcId="{4246557B-6084-4AC4-8C32-072EE5A47E4D}" destId="{74005D3F-9221-42F5-A157-F2D8605EA847}" srcOrd="0" destOrd="0" presId="urn:microsoft.com/office/officeart/2005/8/layout/gear1"/>
    <dgm:cxn modelId="{603B04E9-DA57-432F-A737-25F73EC50582}" type="presOf" srcId="{687A981D-21CB-4428-9BFC-D211A2F14496}" destId="{D64EA795-28DD-406F-B9E5-58A51A84B47E}" srcOrd="0" destOrd="0" presId="urn:microsoft.com/office/officeart/2005/8/layout/gear1"/>
    <dgm:cxn modelId="{3FB9ABF2-B298-4CE5-8747-743F4E10F7DA}" type="presOf" srcId="{CE40241C-583E-4495-B11D-93F825F2BB7D}" destId="{0B91BC60-B11A-491A-AE2B-411A08CB4920}" srcOrd="1" destOrd="0" presId="urn:microsoft.com/office/officeart/2005/8/layout/gear1"/>
    <dgm:cxn modelId="{B27467F3-5B0A-4C89-9A0F-C5A03817E681}" type="presOf" srcId="{E0EFC91C-D6F3-4D78-B1A4-D50248459D69}" destId="{3E19053F-BAC6-4D46-A39C-19FA9AAFE77D}" srcOrd="0" destOrd="0" presId="urn:microsoft.com/office/officeart/2005/8/layout/gear1"/>
    <dgm:cxn modelId="{2BCE796C-E64E-48D1-991B-D6EDFC8C61DD}" type="presParOf" srcId="{AD7C415B-5257-4BEE-97CD-851F8A68ADF1}" destId="{D64EA795-28DD-406F-B9E5-58A51A84B47E}" srcOrd="0" destOrd="0" presId="urn:microsoft.com/office/officeart/2005/8/layout/gear1"/>
    <dgm:cxn modelId="{DFA51158-DD94-44C7-BE14-DB2E05EC6BF8}" type="presParOf" srcId="{AD7C415B-5257-4BEE-97CD-851F8A68ADF1}" destId="{8CAD2D48-8375-456B-8FDB-9B7AA5E9758C}" srcOrd="1" destOrd="0" presId="urn:microsoft.com/office/officeart/2005/8/layout/gear1"/>
    <dgm:cxn modelId="{D8A05520-5E03-4C1F-A3A1-F6DB4A8E7B6F}" type="presParOf" srcId="{AD7C415B-5257-4BEE-97CD-851F8A68ADF1}" destId="{539BC399-FCE1-4725-A4B1-8DC92EF00931}" srcOrd="2" destOrd="0" presId="urn:microsoft.com/office/officeart/2005/8/layout/gear1"/>
    <dgm:cxn modelId="{A3F2B0C1-2F8D-43E5-852C-9447D9421197}" type="presParOf" srcId="{AD7C415B-5257-4BEE-97CD-851F8A68ADF1}" destId="{518FCE5A-52CC-4114-9D15-94CA97B05A30}" srcOrd="3" destOrd="0" presId="urn:microsoft.com/office/officeart/2005/8/layout/gear1"/>
    <dgm:cxn modelId="{CA67722D-0F01-43C3-88C8-7FACE2135EBA}" type="presParOf" srcId="{AD7C415B-5257-4BEE-97CD-851F8A68ADF1}" destId="{0B91BC60-B11A-491A-AE2B-411A08CB4920}" srcOrd="4" destOrd="0" presId="urn:microsoft.com/office/officeart/2005/8/layout/gear1"/>
    <dgm:cxn modelId="{56E78B3E-8D07-4C57-9FB2-C5CEEE901134}" type="presParOf" srcId="{AD7C415B-5257-4BEE-97CD-851F8A68ADF1}" destId="{876B31D1-18E6-494D-90A4-A216BE093098}" srcOrd="5" destOrd="0" presId="urn:microsoft.com/office/officeart/2005/8/layout/gear1"/>
    <dgm:cxn modelId="{570D8405-54B7-4D08-B986-BF23C0698350}" type="presParOf" srcId="{AD7C415B-5257-4BEE-97CD-851F8A68ADF1}" destId="{3A67FEDC-EF38-4689-B1A9-322871A4AEA0}" srcOrd="6" destOrd="0" presId="urn:microsoft.com/office/officeart/2005/8/layout/gear1"/>
    <dgm:cxn modelId="{F9C6D970-32A8-4927-85D0-ADBCA8A9CB1E}" type="presParOf" srcId="{AD7C415B-5257-4BEE-97CD-851F8A68ADF1}" destId="{CDDF21E8-CBA5-49AF-9138-4484B4177A7C}" srcOrd="7" destOrd="0" presId="urn:microsoft.com/office/officeart/2005/8/layout/gear1"/>
    <dgm:cxn modelId="{4424E417-CA1A-4443-91EA-069A557AA42D}" type="presParOf" srcId="{AD7C415B-5257-4BEE-97CD-851F8A68ADF1}" destId="{1DB5CACB-301C-4201-B72B-121741F8D752}" srcOrd="8" destOrd="0" presId="urn:microsoft.com/office/officeart/2005/8/layout/gear1"/>
    <dgm:cxn modelId="{46BBF1BA-A6EB-4152-9F97-6624A2A1F971}" type="presParOf" srcId="{AD7C415B-5257-4BEE-97CD-851F8A68ADF1}" destId="{F23266A7-E4E2-44C0-B8C0-F1AF4AE333B3}" srcOrd="9" destOrd="0" presId="urn:microsoft.com/office/officeart/2005/8/layout/gear1"/>
    <dgm:cxn modelId="{9AA0A31C-399E-477D-B2BD-EAE105E02F9B}" type="presParOf" srcId="{AD7C415B-5257-4BEE-97CD-851F8A68ADF1}" destId="{3E19053F-BAC6-4D46-A39C-19FA9AAFE77D}" srcOrd="10" destOrd="0" presId="urn:microsoft.com/office/officeart/2005/8/layout/gear1"/>
    <dgm:cxn modelId="{E79172AD-6773-4802-A97E-8A22F75B3B48}" type="presParOf" srcId="{AD7C415B-5257-4BEE-97CD-851F8A68ADF1}" destId="{94E30E08-9F50-40F2-9BAA-F3162747CE44}" srcOrd="11" destOrd="0" presId="urn:microsoft.com/office/officeart/2005/8/layout/gear1"/>
    <dgm:cxn modelId="{2CF5C507-22CB-432B-987F-75437AD5FED8}" type="presParOf" srcId="{AD7C415B-5257-4BEE-97CD-851F8A68ADF1}" destId="{74005D3F-9221-42F5-A157-F2D8605EA847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DF9EA4E-5FBC-4645-BE80-060B08D93E94}" type="doc">
      <dgm:prSet loTypeId="urn:microsoft.com/office/officeart/2005/8/layout/gear1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42131CF-B7AC-4AAF-8200-0B4F6A204D9C}">
      <dgm:prSet/>
      <dgm:spPr>
        <a:noFill/>
        <a:ln w="38100">
          <a:solidFill>
            <a:srgbClr val="005B7F"/>
          </a:solidFill>
        </a:ln>
      </dgm:spPr>
      <dgm:t>
        <a:bodyPr/>
        <a:lstStyle/>
        <a:p>
          <a:r>
            <a:rPr lang="en-GB" dirty="0">
              <a:solidFill>
                <a:schemeClr val="tx1"/>
              </a:solidFill>
              <a:sym typeface="Wingdings" panose="05000000000000000000" pitchFamily="2" charset="2"/>
            </a:rPr>
            <a:t>System security (using e.g. vaults and encryption)</a:t>
          </a:r>
        </a:p>
      </dgm:t>
    </dgm:pt>
    <dgm:pt modelId="{10193C45-90D1-4F0A-BB75-2C74480E4478}" type="parTrans" cxnId="{DE043BC9-C273-46F4-8EA2-087BC2F4E463}">
      <dgm:prSet/>
      <dgm:spPr/>
      <dgm:t>
        <a:bodyPr/>
        <a:lstStyle/>
        <a:p>
          <a:endParaRPr lang="en-GB"/>
        </a:p>
      </dgm:t>
    </dgm:pt>
    <dgm:pt modelId="{31FE0090-F053-432F-AEED-EC063FCA8283}" type="sibTrans" cxnId="{DE043BC9-C273-46F4-8EA2-087BC2F4E463}">
      <dgm:prSet/>
      <dgm:spPr/>
      <dgm:t>
        <a:bodyPr/>
        <a:lstStyle/>
        <a:p>
          <a:endParaRPr lang="en-GB"/>
        </a:p>
      </dgm:t>
    </dgm:pt>
    <dgm:pt modelId="{925A45B1-10B1-4788-B94F-6481BAC90143}">
      <dgm:prSet/>
      <dgm:spPr>
        <a:noFill/>
        <a:ln w="38100">
          <a:solidFill>
            <a:srgbClr val="179C7D"/>
          </a:solidFill>
        </a:ln>
      </dgm:spPr>
      <dgm:t>
        <a:bodyPr/>
        <a:lstStyle/>
        <a:p>
          <a:r>
            <a:rPr lang="en-GB" dirty="0">
              <a:solidFill>
                <a:schemeClr val="tx1"/>
              </a:solidFill>
              <a:sym typeface="Wingdings" panose="05000000000000000000" pitchFamily="2" charset="2"/>
            </a:rPr>
            <a:t>Cloud-aware policy enforcement </a:t>
          </a:r>
        </a:p>
      </dgm:t>
    </dgm:pt>
    <dgm:pt modelId="{EA0A953A-64FA-49B6-8161-AC2E2E4FD697}" type="parTrans" cxnId="{8B6C5384-B3A3-4BCF-ACE9-C61C3B5EAC5A}">
      <dgm:prSet/>
      <dgm:spPr/>
      <dgm:t>
        <a:bodyPr/>
        <a:lstStyle/>
        <a:p>
          <a:endParaRPr lang="en-GB"/>
        </a:p>
      </dgm:t>
    </dgm:pt>
    <dgm:pt modelId="{372C4534-97A8-4458-8F53-2E6FA6068FE1}" type="sibTrans" cxnId="{8B6C5384-B3A3-4BCF-ACE9-C61C3B5EAC5A}">
      <dgm:prSet/>
      <dgm:spPr>
        <a:solidFill>
          <a:schemeClr val="accent1"/>
        </a:solidFill>
      </dgm:spPr>
      <dgm:t>
        <a:bodyPr/>
        <a:lstStyle/>
        <a:p>
          <a:endParaRPr lang="en-GB"/>
        </a:p>
      </dgm:t>
    </dgm:pt>
    <dgm:pt modelId="{44E50B6D-EB3D-451A-BF45-98EB31C8444B}">
      <dgm:prSet/>
      <dgm:spPr>
        <a:noFill/>
        <a:ln w="38100">
          <a:solidFill>
            <a:srgbClr val="A6BBC8"/>
          </a:solidFill>
        </a:ln>
      </dgm:spPr>
      <dgm:t>
        <a:bodyPr/>
        <a:lstStyle/>
        <a:p>
          <a:r>
            <a:rPr lang="en-GB" dirty="0">
              <a:solidFill>
                <a:schemeClr val="tx1"/>
              </a:solidFill>
              <a:sym typeface="Wingdings" panose="05000000000000000000" pitchFamily="2" charset="2"/>
            </a:rPr>
            <a:t>Fully auditable processes</a:t>
          </a:r>
        </a:p>
      </dgm:t>
    </dgm:pt>
    <dgm:pt modelId="{8BC74F64-92BD-40E6-8676-0221D2AF0DEC}" type="parTrans" cxnId="{281616DE-F198-40C3-B726-602586AF2DC4}">
      <dgm:prSet/>
      <dgm:spPr/>
      <dgm:t>
        <a:bodyPr/>
        <a:lstStyle/>
        <a:p>
          <a:endParaRPr lang="en-GB"/>
        </a:p>
      </dgm:t>
    </dgm:pt>
    <dgm:pt modelId="{B612B5D1-5EFB-4F94-9445-E3BA80E4E851}" type="sibTrans" cxnId="{281616DE-F198-40C3-B726-602586AF2DC4}">
      <dgm:prSet/>
      <dgm:spPr/>
      <dgm:t>
        <a:bodyPr/>
        <a:lstStyle/>
        <a:p>
          <a:endParaRPr lang="en-GB"/>
        </a:p>
      </dgm:t>
    </dgm:pt>
    <dgm:pt modelId="{AD7C415B-5257-4BEE-97CD-851F8A68ADF1}" type="pres">
      <dgm:prSet presAssocID="{6DF9EA4E-5FBC-4645-BE80-060B08D93E9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26EC681-EF35-4ED9-BB36-933FF038774A}" type="pres">
      <dgm:prSet presAssocID="{142131CF-B7AC-4AAF-8200-0B4F6A204D9C}" presName="gear1" presStyleLbl="node1" presStyleIdx="0" presStyleCnt="3" custLinFactNeighborY="0">
        <dgm:presLayoutVars>
          <dgm:chMax val="1"/>
          <dgm:bulletEnabled val="1"/>
        </dgm:presLayoutVars>
      </dgm:prSet>
      <dgm:spPr/>
    </dgm:pt>
    <dgm:pt modelId="{5B89D3AC-B78A-4176-BAD2-1D416A0E8F75}" type="pres">
      <dgm:prSet presAssocID="{142131CF-B7AC-4AAF-8200-0B4F6A204D9C}" presName="gear1srcNode" presStyleLbl="node1" presStyleIdx="0" presStyleCnt="3"/>
      <dgm:spPr/>
    </dgm:pt>
    <dgm:pt modelId="{142F1012-5CE3-4BD9-970E-2E1F52E5B1D0}" type="pres">
      <dgm:prSet presAssocID="{142131CF-B7AC-4AAF-8200-0B4F6A204D9C}" presName="gear1dstNode" presStyleLbl="node1" presStyleIdx="0" presStyleCnt="3"/>
      <dgm:spPr/>
    </dgm:pt>
    <dgm:pt modelId="{F0687981-E766-4B28-87B8-BAA7F84945C3}" type="pres">
      <dgm:prSet presAssocID="{44E50B6D-EB3D-451A-BF45-98EB31C8444B}" presName="gear2" presStyleLbl="node1" presStyleIdx="1" presStyleCnt="3">
        <dgm:presLayoutVars>
          <dgm:chMax val="1"/>
          <dgm:bulletEnabled val="1"/>
        </dgm:presLayoutVars>
      </dgm:prSet>
      <dgm:spPr/>
    </dgm:pt>
    <dgm:pt modelId="{F7CDC5D7-E39E-4BDD-A48F-0C151A295134}" type="pres">
      <dgm:prSet presAssocID="{44E50B6D-EB3D-451A-BF45-98EB31C8444B}" presName="gear2srcNode" presStyleLbl="node1" presStyleIdx="1" presStyleCnt="3"/>
      <dgm:spPr/>
    </dgm:pt>
    <dgm:pt modelId="{A2AB5421-DFB7-43DF-AB2B-93D0C04AEFF0}" type="pres">
      <dgm:prSet presAssocID="{44E50B6D-EB3D-451A-BF45-98EB31C8444B}" presName="gear2dstNode" presStyleLbl="node1" presStyleIdx="1" presStyleCnt="3"/>
      <dgm:spPr/>
    </dgm:pt>
    <dgm:pt modelId="{F580315A-E35D-495D-A18B-498CB16A0D19}" type="pres">
      <dgm:prSet presAssocID="{925A45B1-10B1-4788-B94F-6481BAC90143}" presName="gear3" presStyleLbl="node1" presStyleIdx="2" presStyleCnt="3" custLinFactNeighborX="0" custLinFactNeighborY="0"/>
      <dgm:spPr/>
    </dgm:pt>
    <dgm:pt modelId="{8D496A09-99D1-4D36-9D3C-1ADEAE9B39A0}" type="pres">
      <dgm:prSet presAssocID="{925A45B1-10B1-4788-B94F-6481BAC90143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78918517-5C12-4310-AB85-21BF95C7A292}" type="pres">
      <dgm:prSet presAssocID="{925A45B1-10B1-4788-B94F-6481BAC90143}" presName="gear3srcNode" presStyleLbl="node1" presStyleIdx="2" presStyleCnt="3"/>
      <dgm:spPr/>
    </dgm:pt>
    <dgm:pt modelId="{B4E7DEB8-ABD6-453F-93D1-74535EC692A8}" type="pres">
      <dgm:prSet presAssocID="{925A45B1-10B1-4788-B94F-6481BAC90143}" presName="gear3dstNode" presStyleLbl="node1" presStyleIdx="2" presStyleCnt="3"/>
      <dgm:spPr/>
    </dgm:pt>
    <dgm:pt modelId="{D5F6305B-3D3F-4084-BCC5-FEEE7AA523D3}" type="pres">
      <dgm:prSet presAssocID="{31FE0090-F053-432F-AEED-EC063FCA8283}" presName="connector1" presStyleLbl="sibTrans2D1" presStyleIdx="0" presStyleCnt="3"/>
      <dgm:spPr/>
    </dgm:pt>
    <dgm:pt modelId="{C4490E73-95FF-4D33-A974-73B76EB98CCF}" type="pres">
      <dgm:prSet presAssocID="{B612B5D1-5EFB-4F94-9445-E3BA80E4E851}" presName="connector2" presStyleLbl="sibTrans2D1" presStyleIdx="1" presStyleCnt="3"/>
      <dgm:spPr/>
    </dgm:pt>
    <dgm:pt modelId="{44643691-C80E-4928-A441-1E046BC13E71}" type="pres">
      <dgm:prSet presAssocID="{372C4534-97A8-4458-8F53-2E6FA6068FE1}" presName="connector3" presStyleLbl="sibTrans2D1" presStyleIdx="2" presStyleCnt="3"/>
      <dgm:spPr/>
    </dgm:pt>
  </dgm:ptLst>
  <dgm:cxnLst>
    <dgm:cxn modelId="{DCF19D05-8D0A-4063-AD90-7EC1B117175F}" type="presOf" srcId="{44E50B6D-EB3D-451A-BF45-98EB31C8444B}" destId="{F7CDC5D7-E39E-4BDD-A48F-0C151A295134}" srcOrd="1" destOrd="0" presId="urn:microsoft.com/office/officeart/2005/8/layout/gear1"/>
    <dgm:cxn modelId="{D9089009-0148-4D16-B9D6-1F2476B9CABC}" type="presOf" srcId="{142131CF-B7AC-4AAF-8200-0B4F6A204D9C}" destId="{5B89D3AC-B78A-4176-BAD2-1D416A0E8F75}" srcOrd="1" destOrd="0" presId="urn:microsoft.com/office/officeart/2005/8/layout/gear1"/>
    <dgm:cxn modelId="{B0987716-AE22-4998-9FA2-E71AB3C6F6D9}" type="presOf" srcId="{925A45B1-10B1-4788-B94F-6481BAC90143}" destId="{F580315A-E35D-495D-A18B-498CB16A0D19}" srcOrd="0" destOrd="0" presId="urn:microsoft.com/office/officeart/2005/8/layout/gear1"/>
    <dgm:cxn modelId="{E7ABE516-DDA1-4FA2-BF83-A8846C527AD3}" type="presOf" srcId="{142131CF-B7AC-4AAF-8200-0B4F6A204D9C}" destId="{142F1012-5CE3-4BD9-970E-2E1F52E5B1D0}" srcOrd="2" destOrd="0" presId="urn:microsoft.com/office/officeart/2005/8/layout/gear1"/>
    <dgm:cxn modelId="{86B7A12F-CDBD-4F4C-9722-A9EBF791B91B}" type="presOf" srcId="{142131CF-B7AC-4AAF-8200-0B4F6A204D9C}" destId="{426EC681-EF35-4ED9-BB36-933FF038774A}" srcOrd="0" destOrd="0" presId="urn:microsoft.com/office/officeart/2005/8/layout/gear1"/>
    <dgm:cxn modelId="{130A3263-CF89-4AD8-B72F-8A8428ED666C}" type="presOf" srcId="{925A45B1-10B1-4788-B94F-6481BAC90143}" destId="{B4E7DEB8-ABD6-453F-93D1-74535EC692A8}" srcOrd="3" destOrd="0" presId="urn:microsoft.com/office/officeart/2005/8/layout/gear1"/>
    <dgm:cxn modelId="{AB866F64-01AA-4F06-87EF-1D84DD606261}" type="presOf" srcId="{372C4534-97A8-4458-8F53-2E6FA6068FE1}" destId="{44643691-C80E-4928-A441-1E046BC13E71}" srcOrd="0" destOrd="0" presId="urn:microsoft.com/office/officeart/2005/8/layout/gear1"/>
    <dgm:cxn modelId="{BC74B576-91E4-454C-BE0B-8C4116DA4A8E}" type="presOf" srcId="{925A45B1-10B1-4788-B94F-6481BAC90143}" destId="{78918517-5C12-4310-AB85-21BF95C7A292}" srcOrd="2" destOrd="0" presId="urn:microsoft.com/office/officeart/2005/8/layout/gear1"/>
    <dgm:cxn modelId="{8B6C5384-B3A3-4BCF-ACE9-C61C3B5EAC5A}" srcId="{6DF9EA4E-5FBC-4645-BE80-060B08D93E94}" destId="{925A45B1-10B1-4788-B94F-6481BAC90143}" srcOrd="2" destOrd="0" parTransId="{EA0A953A-64FA-49B6-8161-AC2E2E4FD697}" sibTransId="{372C4534-97A8-4458-8F53-2E6FA6068FE1}"/>
    <dgm:cxn modelId="{DE043BC9-C273-46F4-8EA2-087BC2F4E463}" srcId="{6DF9EA4E-5FBC-4645-BE80-060B08D93E94}" destId="{142131CF-B7AC-4AAF-8200-0B4F6A204D9C}" srcOrd="0" destOrd="0" parTransId="{10193C45-90D1-4F0A-BB75-2C74480E4478}" sibTransId="{31FE0090-F053-432F-AEED-EC063FCA8283}"/>
    <dgm:cxn modelId="{4D863ACE-2477-4279-BE60-52DDECF7F3D1}" type="presOf" srcId="{6DF9EA4E-5FBC-4645-BE80-060B08D93E94}" destId="{AD7C415B-5257-4BEE-97CD-851F8A68ADF1}" srcOrd="0" destOrd="0" presId="urn:microsoft.com/office/officeart/2005/8/layout/gear1"/>
    <dgm:cxn modelId="{2B1DF3D5-7BEE-443E-9DA0-27A2DBAEE651}" type="presOf" srcId="{B612B5D1-5EFB-4F94-9445-E3BA80E4E851}" destId="{C4490E73-95FF-4D33-A974-73B76EB98CCF}" srcOrd="0" destOrd="0" presId="urn:microsoft.com/office/officeart/2005/8/layout/gear1"/>
    <dgm:cxn modelId="{281616DE-F198-40C3-B726-602586AF2DC4}" srcId="{6DF9EA4E-5FBC-4645-BE80-060B08D93E94}" destId="{44E50B6D-EB3D-451A-BF45-98EB31C8444B}" srcOrd="1" destOrd="0" parTransId="{8BC74F64-92BD-40E6-8676-0221D2AF0DEC}" sibTransId="{B612B5D1-5EFB-4F94-9445-E3BA80E4E851}"/>
    <dgm:cxn modelId="{6937CDDF-44E3-4CA1-B23C-216DA6189930}" type="presOf" srcId="{44E50B6D-EB3D-451A-BF45-98EB31C8444B}" destId="{F0687981-E766-4B28-87B8-BAA7F84945C3}" srcOrd="0" destOrd="0" presId="urn:microsoft.com/office/officeart/2005/8/layout/gear1"/>
    <dgm:cxn modelId="{5EC3BBE6-6BD7-4881-ABA3-4A814189D11E}" type="presOf" srcId="{31FE0090-F053-432F-AEED-EC063FCA8283}" destId="{D5F6305B-3D3F-4084-BCC5-FEEE7AA523D3}" srcOrd="0" destOrd="0" presId="urn:microsoft.com/office/officeart/2005/8/layout/gear1"/>
    <dgm:cxn modelId="{33C732F1-11FB-4F15-B818-C01554E56FF3}" type="presOf" srcId="{44E50B6D-EB3D-451A-BF45-98EB31C8444B}" destId="{A2AB5421-DFB7-43DF-AB2B-93D0C04AEFF0}" srcOrd="2" destOrd="0" presId="urn:microsoft.com/office/officeart/2005/8/layout/gear1"/>
    <dgm:cxn modelId="{A2A948F9-394B-474E-A7DF-C02FD79124CB}" type="presOf" srcId="{925A45B1-10B1-4788-B94F-6481BAC90143}" destId="{8D496A09-99D1-4D36-9D3C-1ADEAE9B39A0}" srcOrd="1" destOrd="0" presId="urn:microsoft.com/office/officeart/2005/8/layout/gear1"/>
    <dgm:cxn modelId="{D93E7DF3-84D3-4AC0-A7EF-DE821AD35DF8}" type="presParOf" srcId="{AD7C415B-5257-4BEE-97CD-851F8A68ADF1}" destId="{426EC681-EF35-4ED9-BB36-933FF038774A}" srcOrd="0" destOrd="0" presId="urn:microsoft.com/office/officeart/2005/8/layout/gear1"/>
    <dgm:cxn modelId="{9A4EB2EB-2EE0-460D-A113-C5D09AE06A47}" type="presParOf" srcId="{AD7C415B-5257-4BEE-97CD-851F8A68ADF1}" destId="{5B89D3AC-B78A-4176-BAD2-1D416A0E8F75}" srcOrd="1" destOrd="0" presId="urn:microsoft.com/office/officeart/2005/8/layout/gear1"/>
    <dgm:cxn modelId="{1DBCCF37-E700-4AE6-A754-DF4F13CC242D}" type="presParOf" srcId="{AD7C415B-5257-4BEE-97CD-851F8A68ADF1}" destId="{142F1012-5CE3-4BD9-970E-2E1F52E5B1D0}" srcOrd="2" destOrd="0" presId="urn:microsoft.com/office/officeart/2005/8/layout/gear1"/>
    <dgm:cxn modelId="{3DBF4ABE-A228-48D2-AC1F-C5B1F9923C6F}" type="presParOf" srcId="{AD7C415B-5257-4BEE-97CD-851F8A68ADF1}" destId="{F0687981-E766-4B28-87B8-BAA7F84945C3}" srcOrd="3" destOrd="0" presId="urn:microsoft.com/office/officeart/2005/8/layout/gear1"/>
    <dgm:cxn modelId="{A69182E7-7D75-44C7-AC32-AF63A8AA34D9}" type="presParOf" srcId="{AD7C415B-5257-4BEE-97CD-851F8A68ADF1}" destId="{F7CDC5D7-E39E-4BDD-A48F-0C151A295134}" srcOrd="4" destOrd="0" presId="urn:microsoft.com/office/officeart/2005/8/layout/gear1"/>
    <dgm:cxn modelId="{2C062BF0-54D2-49DA-BE59-6385BEE42ADB}" type="presParOf" srcId="{AD7C415B-5257-4BEE-97CD-851F8A68ADF1}" destId="{A2AB5421-DFB7-43DF-AB2B-93D0C04AEFF0}" srcOrd="5" destOrd="0" presId="urn:microsoft.com/office/officeart/2005/8/layout/gear1"/>
    <dgm:cxn modelId="{310A7E21-255B-4FFE-AAEE-4432ECCBB248}" type="presParOf" srcId="{AD7C415B-5257-4BEE-97CD-851F8A68ADF1}" destId="{F580315A-E35D-495D-A18B-498CB16A0D19}" srcOrd="6" destOrd="0" presId="urn:microsoft.com/office/officeart/2005/8/layout/gear1"/>
    <dgm:cxn modelId="{EF800FC2-EEA0-44D3-AB10-5F75DEE976CF}" type="presParOf" srcId="{AD7C415B-5257-4BEE-97CD-851F8A68ADF1}" destId="{8D496A09-99D1-4D36-9D3C-1ADEAE9B39A0}" srcOrd="7" destOrd="0" presId="urn:microsoft.com/office/officeart/2005/8/layout/gear1"/>
    <dgm:cxn modelId="{80ABC819-BBBF-4D9A-858A-743C0CDD4104}" type="presParOf" srcId="{AD7C415B-5257-4BEE-97CD-851F8A68ADF1}" destId="{78918517-5C12-4310-AB85-21BF95C7A292}" srcOrd="8" destOrd="0" presId="urn:microsoft.com/office/officeart/2005/8/layout/gear1"/>
    <dgm:cxn modelId="{2933E801-9CCD-4592-80B8-817D075B203D}" type="presParOf" srcId="{AD7C415B-5257-4BEE-97CD-851F8A68ADF1}" destId="{B4E7DEB8-ABD6-453F-93D1-74535EC692A8}" srcOrd="9" destOrd="0" presId="urn:microsoft.com/office/officeart/2005/8/layout/gear1"/>
    <dgm:cxn modelId="{1D609C18-1BAF-429E-A6AE-6AA1515084E1}" type="presParOf" srcId="{AD7C415B-5257-4BEE-97CD-851F8A68ADF1}" destId="{D5F6305B-3D3F-4084-BCC5-FEEE7AA523D3}" srcOrd="10" destOrd="0" presId="urn:microsoft.com/office/officeart/2005/8/layout/gear1"/>
    <dgm:cxn modelId="{1CB52907-52C8-4995-8F96-542AE463B269}" type="presParOf" srcId="{AD7C415B-5257-4BEE-97CD-851F8A68ADF1}" destId="{C4490E73-95FF-4D33-A974-73B76EB98CCF}" srcOrd="11" destOrd="0" presId="urn:microsoft.com/office/officeart/2005/8/layout/gear1"/>
    <dgm:cxn modelId="{D087AAB5-12C1-4939-8CC8-5CA1134D74D5}" type="presParOf" srcId="{AD7C415B-5257-4BEE-97CD-851F8A68ADF1}" destId="{44643691-C80E-4928-A441-1E046BC13E71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BB7446-DFDC-42E7-AB47-B8421EA468A9}">
      <dsp:nvSpPr>
        <dsp:cNvPr id="0" name=""/>
        <dsp:cNvSpPr/>
      </dsp:nvSpPr>
      <dsp:spPr>
        <a:xfrm>
          <a:off x="2317" y="0"/>
          <a:ext cx="2325348" cy="580724"/>
        </a:xfrm>
        <a:prstGeom prst="homePlate">
          <a:avLst/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6000" tIns="180000" rIns="18669" bIns="37338" numCol="1" spcCol="1270" anchor="t" anchorCtr="0">
          <a:noAutofit/>
        </a:bodyPr>
        <a:lstStyle/>
        <a:p>
          <a:pPr marL="0" lvl="0" indent="0" algn="ctr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Discover</a:t>
          </a:r>
        </a:p>
      </dsp:txBody>
      <dsp:txXfrm>
        <a:off x="2317" y="0"/>
        <a:ext cx="2180167" cy="580724"/>
      </dsp:txXfrm>
    </dsp:sp>
    <dsp:sp modelId="{D5760C75-B26F-4897-AC56-87D1B1AF99B3}">
      <dsp:nvSpPr>
        <dsp:cNvPr id="0" name=""/>
        <dsp:cNvSpPr/>
      </dsp:nvSpPr>
      <dsp:spPr>
        <a:xfrm>
          <a:off x="1862596" y="0"/>
          <a:ext cx="2325348" cy="580724"/>
        </a:xfrm>
        <a:prstGeom prst="chevron">
          <a:avLst/>
        </a:prstGeom>
        <a:solidFill>
          <a:schemeClr val="accent2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0000" rIns="18669" bIns="37338" numCol="1" spcCol="1270" anchor="t" anchorCtr="0">
          <a:noAutofit/>
        </a:bodyPr>
        <a:lstStyle/>
        <a:p>
          <a:pPr marL="0" lvl="0" indent="0" algn="ctr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Publish</a:t>
          </a:r>
        </a:p>
      </dsp:txBody>
      <dsp:txXfrm>
        <a:off x="2152958" y="0"/>
        <a:ext cx="1744624" cy="580724"/>
      </dsp:txXfrm>
    </dsp:sp>
    <dsp:sp modelId="{21EEABB0-51BC-4D84-95E8-3CD4442C9CEE}">
      <dsp:nvSpPr>
        <dsp:cNvPr id="0" name=""/>
        <dsp:cNvSpPr/>
      </dsp:nvSpPr>
      <dsp:spPr>
        <a:xfrm>
          <a:off x="3722874" y="0"/>
          <a:ext cx="2325348" cy="580724"/>
        </a:xfrm>
        <a:prstGeom prst="chevron">
          <a:avLst/>
        </a:prstGeom>
        <a:solidFill>
          <a:schemeClr val="accent3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4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0000" rIns="18669" bIns="37338" numCol="1" spcCol="1270" anchor="t" anchorCtr="0">
          <a:noAutofit/>
        </a:bodyPr>
        <a:lstStyle/>
        <a:p>
          <a:pPr marL="0" lvl="0" indent="0" algn="ctr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Share</a:t>
          </a:r>
          <a:endParaRPr lang="en-US" sz="1400" kern="1200" dirty="0"/>
        </a:p>
      </dsp:txBody>
      <dsp:txXfrm>
        <a:off x="4013236" y="0"/>
        <a:ext cx="1744624" cy="580724"/>
      </dsp:txXfrm>
    </dsp:sp>
    <dsp:sp modelId="{DDB5AFF3-5D50-4F28-890C-0DC01191AA68}">
      <dsp:nvSpPr>
        <dsp:cNvPr id="0" name=""/>
        <dsp:cNvSpPr/>
      </dsp:nvSpPr>
      <dsp:spPr>
        <a:xfrm>
          <a:off x="5583153" y="0"/>
          <a:ext cx="2325348" cy="580724"/>
        </a:xfrm>
        <a:prstGeom prst="chevron">
          <a:avLst/>
        </a:prstGeom>
        <a:solidFill>
          <a:schemeClr val="accent4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0000" rIns="18669" bIns="37338" numCol="1" spcCol="1270" anchor="t" anchorCtr="0">
          <a:noAutofit/>
        </a:bodyPr>
        <a:lstStyle/>
        <a:p>
          <a:pPr marL="0" lvl="0" indent="0" algn="ctr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Maintain Control</a:t>
          </a:r>
          <a:endParaRPr lang="en-US" sz="1400" kern="1200" dirty="0"/>
        </a:p>
      </dsp:txBody>
      <dsp:txXfrm>
        <a:off x="5873515" y="0"/>
        <a:ext cx="1744624" cy="5807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4EA795-28DD-406F-B9E5-58A51A84B47E}">
      <dsp:nvSpPr>
        <dsp:cNvPr id="0" name=""/>
        <dsp:cNvSpPr/>
      </dsp:nvSpPr>
      <dsp:spPr>
        <a:xfrm>
          <a:off x="2505737" y="1950453"/>
          <a:ext cx="2383887" cy="2383887"/>
        </a:xfrm>
        <a:prstGeom prst="gear9">
          <a:avLst/>
        </a:prstGeom>
        <a:noFill/>
        <a:ln w="38100" cap="flat" cmpd="sng" algn="ctr">
          <a:solidFill>
            <a:srgbClr val="179C7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Separation of information flows (</a:t>
          </a:r>
          <a:r>
            <a:rPr lang="en-GB" sz="1300" b="1" kern="1200" dirty="0">
              <a:solidFill>
                <a:schemeClr val="tx1"/>
              </a:solidFill>
              <a:sym typeface="Wingdings" panose="05000000000000000000" pitchFamily="2" charset="2"/>
            </a:rPr>
            <a:t>control</a:t>
          </a: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) and data transfer (</a:t>
          </a:r>
          <a:r>
            <a:rPr lang="en-GB" sz="1300" b="1" kern="1200" dirty="0">
              <a:solidFill>
                <a:schemeClr val="tx1"/>
              </a:solidFill>
              <a:sym typeface="Wingdings" panose="05000000000000000000" pitchFamily="2" charset="2"/>
            </a:rPr>
            <a:t>exchange</a:t>
          </a: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)</a:t>
          </a:r>
          <a:endParaRPr lang="de-DE" sz="1300" kern="1200" dirty="0">
            <a:solidFill>
              <a:schemeClr val="tx1"/>
            </a:solidFill>
          </a:endParaRPr>
        </a:p>
      </dsp:txBody>
      <dsp:txXfrm>
        <a:off x="2985004" y="2508867"/>
        <a:ext cx="1425353" cy="1225367"/>
      </dsp:txXfrm>
    </dsp:sp>
    <dsp:sp modelId="{518FCE5A-52CC-4114-9D15-94CA97B05A30}">
      <dsp:nvSpPr>
        <dsp:cNvPr id="0" name=""/>
        <dsp:cNvSpPr/>
      </dsp:nvSpPr>
      <dsp:spPr>
        <a:xfrm>
          <a:off x="1118748" y="1386989"/>
          <a:ext cx="1733736" cy="1733736"/>
        </a:xfrm>
        <a:prstGeom prst="gear6">
          <a:avLst/>
        </a:prstGeom>
        <a:noFill/>
        <a:ln w="38100" cap="flat" cmpd="sng" algn="ctr">
          <a:solidFill>
            <a:srgbClr val="A6BBC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 err="1">
              <a:solidFill>
                <a:schemeClr val="tx1"/>
              </a:solidFill>
              <a:sym typeface="Wingdings" panose="05000000000000000000" pitchFamily="2" charset="2"/>
            </a:rPr>
            <a:t>Asynchro</a:t>
          </a: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-nous and highly available</a:t>
          </a:r>
        </a:p>
      </dsp:txBody>
      <dsp:txXfrm>
        <a:off x="1555221" y="1826100"/>
        <a:ext cx="860790" cy="855514"/>
      </dsp:txXfrm>
    </dsp:sp>
    <dsp:sp modelId="{3A67FEDC-EF38-4689-B1A9-322871A4AEA0}">
      <dsp:nvSpPr>
        <dsp:cNvPr id="0" name=""/>
        <dsp:cNvSpPr/>
      </dsp:nvSpPr>
      <dsp:spPr>
        <a:xfrm rot="20700000">
          <a:off x="2089818" y="190887"/>
          <a:ext cx="1698707" cy="1698707"/>
        </a:xfrm>
        <a:prstGeom prst="gear6">
          <a:avLst/>
        </a:prstGeom>
        <a:noFill/>
        <a:ln w="38100" cap="flat" cmpd="sng" algn="ctr">
          <a:solidFill>
            <a:srgbClr val="005B7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Modular and extensible</a:t>
          </a:r>
        </a:p>
      </dsp:txBody>
      <dsp:txXfrm rot="-20700000">
        <a:off x="2462394" y="563464"/>
        <a:ext cx="953555" cy="953555"/>
      </dsp:txXfrm>
    </dsp:sp>
    <dsp:sp modelId="{3E19053F-BAC6-4D46-A39C-19FA9AAFE77D}">
      <dsp:nvSpPr>
        <dsp:cNvPr id="0" name=""/>
        <dsp:cNvSpPr/>
      </dsp:nvSpPr>
      <dsp:spPr>
        <a:xfrm>
          <a:off x="2323970" y="1589854"/>
          <a:ext cx="3051376" cy="3051376"/>
        </a:xfrm>
        <a:prstGeom prst="circularArrow">
          <a:avLst>
            <a:gd name="adj1" fmla="val 4688"/>
            <a:gd name="adj2" fmla="val 299029"/>
            <a:gd name="adj3" fmla="val 2519459"/>
            <a:gd name="adj4" fmla="val 15854201"/>
            <a:gd name="adj5" fmla="val 5469"/>
          </a:avLst>
        </a:prstGeom>
        <a:solidFill>
          <a:schemeClr val="accent1">
            <a:alpha val="8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E30E08-9F50-40F2-9BAA-F3162747CE44}">
      <dsp:nvSpPr>
        <dsp:cNvPr id="0" name=""/>
        <dsp:cNvSpPr/>
      </dsp:nvSpPr>
      <dsp:spPr>
        <a:xfrm>
          <a:off x="811707" y="1002777"/>
          <a:ext cx="2217015" cy="221701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005D3F-9221-42F5-A157-F2D8605EA847}">
      <dsp:nvSpPr>
        <dsp:cNvPr id="0" name=""/>
        <dsp:cNvSpPr/>
      </dsp:nvSpPr>
      <dsp:spPr>
        <a:xfrm>
          <a:off x="1696889" y="-181793"/>
          <a:ext cx="2390389" cy="239038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005B7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6EC681-EF35-4ED9-BB36-933FF038774A}">
      <dsp:nvSpPr>
        <dsp:cNvPr id="0" name=""/>
        <dsp:cNvSpPr/>
      </dsp:nvSpPr>
      <dsp:spPr>
        <a:xfrm>
          <a:off x="2505737" y="1950453"/>
          <a:ext cx="2383887" cy="2383887"/>
        </a:xfrm>
        <a:prstGeom prst="gear9">
          <a:avLst/>
        </a:prstGeom>
        <a:noFill/>
        <a:ln w="38100" cap="flat" cmpd="sng" algn="ctr">
          <a:solidFill>
            <a:srgbClr val="005B7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System security (using e.g. vaults and encryption)</a:t>
          </a:r>
        </a:p>
      </dsp:txBody>
      <dsp:txXfrm>
        <a:off x="2985004" y="2508867"/>
        <a:ext cx="1425353" cy="1225367"/>
      </dsp:txXfrm>
    </dsp:sp>
    <dsp:sp modelId="{F0687981-E766-4B28-87B8-BAA7F84945C3}">
      <dsp:nvSpPr>
        <dsp:cNvPr id="0" name=""/>
        <dsp:cNvSpPr/>
      </dsp:nvSpPr>
      <dsp:spPr>
        <a:xfrm>
          <a:off x="1118748" y="1386989"/>
          <a:ext cx="1733736" cy="1733736"/>
        </a:xfrm>
        <a:prstGeom prst="gear6">
          <a:avLst/>
        </a:prstGeom>
        <a:noFill/>
        <a:ln w="38100" cap="flat" cmpd="sng" algn="ctr">
          <a:solidFill>
            <a:srgbClr val="A6BBC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Fully auditable processes</a:t>
          </a:r>
        </a:p>
      </dsp:txBody>
      <dsp:txXfrm>
        <a:off x="1555221" y="1826100"/>
        <a:ext cx="860790" cy="855514"/>
      </dsp:txXfrm>
    </dsp:sp>
    <dsp:sp modelId="{F580315A-E35D-495D-A18B-498CB16A0D19}">
      <dsp:nvSpPr>
        <dsp:cNvPr id="0" name=""/>
        <dsp:cNvSpPr/>
      </dsp:nvSpPr>
      <dsp:spPr>
        <a:xfrm rot="20700000">
          <a:off x="2089818" y="190887"/>
          <a:ext cx="1698707" cy="1698707"/>
        </a:xfrm>
        <a:prstGeom prst="gear6">
          <a:avLst/>
        </a:prstGeom>
        <a:noFill/>
        <a:ln w="38100" cap="flat" cmpd="sng" algn="ctr">
          <a:solidFill>
            <a:srgbClr val="179C7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>
              <a:solidFill>
                <a:schemeClr val="tx1"/>
              </a:solidFill>
              <a:sym typeface="Wingdings" panose="05000000000000000000" pitchFamily="2" charset="2"/>
            </a:rPr>
            <a:t>Cloud-aware policy enforcement </a:t>
          </a:r>
        </a:p>
      </dsp:txBody>
      <dsp:txXfrm rot="-20700000">
        <a:off x="2462394" y="563464"/>
        <a:ext cx="953555" cy="953555"/>
      </dsp:txXfrm>
    </dsp:sp>
    <dsp:sp modelId="{D5F6305B-3D3F-4084-BCC5-FEEE7AA523D3}">
      <dsp:nvSpPr>
        <dsp:cNvPr id="0" name=""/>
        <dsp:cNvSpPr/>
      </dsp:nvSpPr>
      <dsp:spPr>
        <a:xfrm>
          <a:off x="2323970" y="1589854"/>
          <a:ext cx="3051376" cy="3051376"/>
        </a:xfrm>
        <a:prstGeom prst="circularArrow">
          <a:avLst>
            <a:gd name="adj1" fmla="val 4688"/>
            <a:gd name="adj2" fmla="val 299029"/>
            <a:gd name="adj3" fmla="val 2519459"/>
            <a:gd name="adj4" fmla="val 15854201"/>
            <a:gd name="adj5" fmla="val 546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490E73-95FF-4D33-A974-73B76EB98CCF}">
      <dsp:nvSpPr>
        <dsp:cNvPr id="0" name=""/>
        <dsp:cNvSpPr/>
      </dsp:nvSpPr>
      <dsp:spPr>
        <a:xfrm>
          <a:off x="811707" y="1002777"/>
          <a:ext cx="2217015" cy="221701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643691-C80E-4928-A441-1E046BC13E71}">
      <dsp:nvSpPr>
        <dsp:cNvPr id="0" name=""/>
        <dsp:cNvSpPr/>
      </dsp:nvSpPr>
      <dsp:spPr>
        <a:xfrm>
          <a:off x="1696889" y="-181793"/>
          <a:ext cx="2390389" cy="239038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5/23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5/23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0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7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8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7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"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 dirty="0"/>
              <a:t>© Fraunhofer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hyperlink" Target="https://catena-x.net/en/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eclipse-dataspaceconnector/Publications" TargetMode="External"/><Relationship Id="rId3" Type="http://schemas.openxmlformats.org/officeDocument/2006/relationships/hyperlink" Target="https://projects.eclipse.org/proposals/eclipse-dataspace-connector" TargetMode="External"/><Relationship Id="rId7" Type="http://schemas.openxmlformats.org/officeDocument/2006/relationships/hyperlink" Target="https://github.com/eclipse-dataspaceconnector/Collateral" TargetMode="External"/><Relationship Id="rId2" Type="http://schemas.openxmlformats.org/officeDocument/2006/relationships/hyperlink" Target="https://projects.eclipse.org/projects/technology.dataspaceconnector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github.com/eclipse-dataspaceconnector/DataSpaceConnector" TargetMode="External"/><Relationship Id="rId11" Type="http://schemas.openxmlformats.org/officeDocument/2006/relationships/hyperlink" Target="https://www.youtube.com/channel/UCYmjEHtMSzycheBB4AeITHg" TargetMode="External"/><Relationship Id="rId5" Type="http://schemas.openxmlformats.org/officeDocument/2006/relationships/hyperlink" Target="https://accounts.eclipse.org/mailing-list/dataspaceconnector-dev" TargetMode="External"/><Relationship Id="rId10" Type="http://schemas.openxmlformats.org/officeDocument/2006/relationships/hyperlink" Target="https://github.com/eclipse-dataspaceconnector/DataSpaceConnector/discussions/1303" TargetMode="External"/><Relationship Id="rId4" Type="http://schemas.openxmlformats.org/officeDocument/2006/relationships/hyperlink" Target="https://accounts.eclipse.org/mailing-list/dataspaceconnector-community" TargetMode="External"/><Relationship Id="rId9" Type="http://schemas.openxmlformats.org/officeDocument/2006/relationships/hyperlink" Target="https://eclipse-dataspaceconnector.github.io/DataSpaceConnector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hyperlink" Target="https://www.isst.fraunhofer.de/en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0.jpeg"/><Relationship Id="rId7" Type="http://schemas.openxmlformats.org/officeDocument/2006/relationships/image" Target="../media/image14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area">
            <a:extLst>
              <a:ext uri="{FF2B5EF4-FFF2-40B4-BE49-F238E27FC236}">
                <a16:creationId xmlns:a16="http://schemas.microsoft.com/office/drawing/2014/main" id="{49D8D605-52AA-4BD2-BBE5-A38289679C80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962FEB88-B611-49E0-B7B1-563C52A736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2575" y="383971"/>
            <a:ext cx="2520000" cy="1097419"/>
          </a:xfrm>
          <a:prstGeom prst="rect">
            <a:avLst/>
          </a:prstGeom>
        </p:spPr>
      </p:pic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ED791E7-810B-48AA-9FE7-59EE891ACE8B}"/>
              </a:ext>
            </a:extLst>
          </p:cNvPr>
          <p:cNvSpPr txBox="1">
            <a:spLocks/>
          </p:cNvSpPr>
          <p:nvPr/>
        </p:nvSpPr>
        <p:spPr bwMode="gray">
          <a:xfrm>
            <a:off x="0" y="3315774"/>
            <a:ext cx="11712575" cy="2669101"/>
          </a:xfrm>
          <a:prstGeom prst="rect">
            <a:avLst/>
          </a:prstGeom>
          <a:noFill/>
        </p:spPr>
        <p:txBody>
          <a:bodyPr vert="horz" wrap="square" lIns="486000" tIns="360000" rIns="360000" bIns="360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2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600" dirty="0">
                <a:latin typeface="+mj-lt"/>
              </a:rPr>
              <a:t>IDSA Ecosystem Building Call ‧ Component Development Session</a:t>
            </a:r>
            <a:endParaRPr lang="de-DE" sz="1600" dirty="0">
              <a:latin typeface="+mj-lt"/>
            </a:endParaRPr>
          </a:p>
          <a:p>
            <a:pPr lvl="1"/>
            <a:r>
              <a:rPr lang="de-DE" dirty="0"/>
              <a:t>—</a:t>
            </a:r>
          </a:p>
          <a:p>
            <a:pPr lvl="2">
              <a:lnSpc>
                <a:spcPct val="100000"/>
              </a:lnSpc>
            </a:pPr>
            <a:r>
              <a:rPr lang="de-DE" sz="3200" dirty="0" err="1">
                <a:latin typeface="+mn-lt"/>
              </a:rPr>
              <a:t>Eclipse</a:t>
            </a:r>
            <a:r>
              <a:rPr lang="de-DE" sz="3200" dirty="0">
                <a:latin typeface="+mn-lt"/>
              </a:rPr>
              <a:t> Dataspace Connector</a:t>
            </a:r>
          </a:p>
          <a:p>
            <a:pPr lvl="3"/>
            <a:r>
              <a:rPr lang="de-DE" dirty="0"/>
              <a:t>Julia Pampus ‧ Fraunhofer ISS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AA643F6-2038-45FB-ACBF-5B4FEBAC051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410532-21B4-485C-894B-061706B44F9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01D6D29-1EAF-4331-9E64-85FB0AF255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ignment </a:t>
            </a:r>
            <a:r>
              <a:rPr lang="de-DE" dirty="0" err="1"/>
              <a:t>with</a:t>
            </a:r>
            <a:r>
              <a:rPr lang="de-DE" dirty="0"/>
              <a:t> Gaia-X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C16CAA7-2D1E-4830-80E5-81BF047C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26005E-BD6D-429F-86C3-6108CC11FE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D59304-162D-49DF-9867-6D19C6DA67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200" y="1703388"/>
            <a:ext cx="11241538" cy="1880515"/>
          </a:xfrm>
        </p:spPr>
        <p:txBody>
          <a:bodyPr/>
          <a:lstStyle/>
          <a:p>
            <a:pPr lvl="3"/>
            <a:r>
              <a:rPr lang="en-GB" sz="1600" dirty="0">
                <a:sym typeface="Wingdings" panose="05000000000000000000" pitchFamily="2" charset="2"/>
              </a:rPr>
              <a:t>Fulfilment of mandatory and further criteria</a:t>
            </a: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Support for Gaia-X Trust Framework</a:t>
            </a: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Support Gaia-X compliant Self-Description</a:t>
            </a: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Gaia-X Registry Extension and support for Verifiable Credentials (VC)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Possible alignment with Gaia-X Federation Services v2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Possible integration with GXFS-DE implementation projects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Alignment with lighthouse projects (e.g., </a:t>
            </a:r>
            <a:r>
              <a:rPr lang="en-GB" sz="1600" dirty="0">
                <a:sym typeface="Wingdings" panose="05000000000000000000" pitchFamily="2" charset="2"/>
                <a:hlinkClick r:id="rId2"/>
              </a:rPr>
              <a:t>Catena-X</a:t>
            </a:r>
            <a:r>
              <a:rPr lang="en-GB" sz="1600" dirty="0">
                <a:sym typeface="Wingdings" panose="05000000000000000000" pitchFamily="2" charset="2"/>
              </a:rPr>
              <a:t>)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BCCADBB-D67C-4606-8EE7-76AF18BF82CD}"/>
              </a:ext>
            </a:extLst>
          </p:cNvPr>
          <p:cNvGrpSpPr/>
          <p:nvPr/>
        </p:nvGrpSpPr>
        <p:grpSpPr>
          <a:xfrm>
            <a:off x="478200" y="3967283"/>
            <a:ext cx="11233150" cy="1645030"/>
            <a:chOff x="503999" y="4257298"/>
            <a:chExt cx="10563497" cy="1546963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C7A4648-528A-4378-BB54-7DD1D1F5D2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8295" y="4265582"/>
              <a:ext cx="2309585" cy="1538679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A880C773-5478-4E62-AC8B-55D2EC39E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3999" y="4260871"/>
              <a:ext cx="2315317" cy="1543390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4AC1BF04-0F98-49AE-B4ED-19CC495F3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86859" y="4257298"/>
              <a:ext cx="2317925" cy="1546963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AF2509A-60C8-460C-ADC8-6AE21D779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3763" y="4257298"/>
              <a:ext cx="2333733" cy="1545719"/>
            </a:xfrm>
            <a:prstGeom prst="rect">
              <a:avLst/>
            </a:prstGeom>
          </p:spPr>
        </p:pic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0F86A173-EB7D-4DB3-B3C6-F1651E910A7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8028" y="395589"/>
            <a:ext cx="1121710" cy="701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6409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Alignment </a:t>
            </a:r>
            <a:r>
              <a:rPr lang="de-DE" dirty="0" err="1"/>
              <a:t>with</a:t>
            </a:r>
            <a:r>
              <a:rPr lang="de-DE" dirty="0"/>
              <a:t> IDSA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7AAF16CB-9D02-4738-A035-6F61A78EF6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1DD7231B-2E6E-41F3-AC7C-C26F80DDB5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C8976F-0B31-4BD7-86FA-062EAB3A5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BA3E71C5-75A0-43F2-9026-FA0D58B168E9}"/>
              </a:ext>
            </a:extLst>
          </p:cNvPr>
          <p:cNvSpPr>
            <a:spLocks/>
          </p:cNvSpPr>
          <p:nvPr/>
        </p:nvSpPr>
        <p:spPr bwMode="gray">
          <a:xfrm>
            <a:off x="3741495" y="1700213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r>
              <a:rPr lang="en-GB" dirty="0"/>
              <a:t>Support of IDS communication protocols, ontology &amp; central services</a:t>
            </a:r>
            <a:endParaRPr lang="de-DE" sz="1400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6CCF7A2-701B-48B0-BA49-3E9603319113}"/>
              </a:ext>
            </a:extLst>
          </p:cNvPr>
          <p:cNvSpPr>
            <a:spLocks/>
          </p:cNvSpPr>
          <p:nvPr/>
        </p:nvSpPr>
        <p:spPr bwMode="gray">
          <a:xfrm>
            <a:off x="3741495" y="2602911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GB" dirty="0"/>
              <a:t>Support development of IDS Reference Architecture Model (RAM) 4.0</a:t>
            </a:r>
            <a:endParaRPr lang="en-GB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07D20D9-DBA1-45CA-ADB0-05DF9734607B}"/>
              </a:ext>
            </a:extLst>
          </p:cNvPr>
          <p:cNvSpPr>
            <a:spLocks/>
          </p:cNvSpPr>
          <p:nvPr/>
        </p:nvSpPr>
        <p:spPr bwMode="gray">
          <a:xfrm>
            <a:off x="3741495" y="3505609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art of IDSA Open Source Landscape (IDSA Graduation Scheme)</a:t>
            </a: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34DD385-DA00-49F9-947C-E99C02F1EA42}"/>
              </a:ext>
            </a:extLst>
          </p:cNvPr>
          <p:cNvSpPr>
            <a:spLocks/>
          </p:cNvSpPr>
          <p:nvPr/>
        </p:nvSpPr>
        <p:spPr bwMode="gray">
          <a:xfrm>
            <a:off x="3741493" y="4408307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articipating in IDSA committees and working groups</a:t>
            </a:r>
            <a:endParaRPr lang="de-DE" sz="1400" dirty="0"/>
          </a:p>
        </p:txBody>
      </p:sp>
      <p:sp>
        <p:nvSpPr>
          <p:cNvPr id="29" name="Gleichschenkliges Dreieck 28">
            <a:extLst>
              <a:ext uri="{FF2B5EF4-FFF2-40B4-BE49-F238E27FC236}">
                <a16:creationId xmlns:a16="http://schemas.microsoft.com/office/drawing/2014/main" id="{5B2A8623-12D4-4494-AD8B-4342E6785A8A}"/>
              </a:ext>
            </a:extLst>
          </p:cNvPr>
          <p:cNvSpPr>
            <a:spLocks/>
          </p:cNvSpPr>
          <p:nvPr/>
        </p:nvSpPr>
        <p:spPr bwMode="gray">
          <a:xfrm rot="5400000">
            <a:off x="3317666" y="1778212"/>
            <a:ext cx="673871" cy="517878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30" name="Gleichschenkliges Dreieck 29">
            <a:extLst>
              <a:ext uri="{FF2B5EF4-FFF2-40B4-BE49-F238E27FC236}">
                <a16:creationId xmlns:a16="http://schemas.microsoft.com/office/drawing/2014/main" id="{6A7C38D0-D37C-46F2-B63B-73E4CC8FFE19}"/>
              </a:ext>
            </a:extLst>
          </p:cNvPr>
          <p:cNvSpPr>
            <a:spLocks/>
          </p:cNvSpPr>
          <p:nvPr/>
        </p:nvSpPr>
        <p:spPr bwMode="gray">
          <a:xfrm rot="5400000">
            <a:off x="3317667" y="2680906"/>
            <a:ext cx="673873" cy="517880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31" name="Gleichschenkliges Dreieck 30">
            <a:extLst>
              <a:ext uri="{FF2B5EF4-FFF2-40B4-BE49-F238E27FC236}">
                <a16:creationId xmlns:a16="http://schemas.microsoft.com/office/drawing/2014/main" id="{ABD57D27-400F-411F-A934-6434CD34C7A2}"/>
              </a:ext>
            </a:extLst>
          </p:cNvPr>
          <p:cNvSpPr>
            <a:spLocks/>
          </p:cNvSpPr>
          <p:nvPr/>
        </p:nvSpPr>
        <p:spPr bwMode="gray">
          <a:xfrm rot="5400000">
            <a:off x="3317667" y="3583606"/>
            <a:ext cx="673871" cy="517878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2" name="Gleichschenkliges Dreieck 31">
            <a:extLst>
              <a:ext uri="{FF2B5EF4-FFF2-40B4-BE49-F238E27FC236}">
                <a16:creationId xmlns:a16="http://schemas.microsoft.com/office/drawing/2014/main" id="{11E022EB-2E0C-41E2-B643-3BA293175CAB}"/>
              </a:ext>
            </a:extLst>
          </p:cNvPr>
          <p:cNvSpPr>
            <a:spLocks/>
          </p:cNvSpPr>
          <p:nvPr/>
        </p:nvSpPr>
        <p:spPr bwMode="gray">
          <a:xfrm rot="5400000">
            <a:off x="3317667" y="4486303"/>
            <a:ext cx="673872" cy="517879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D4BBEDE-E542-44B6-BF7F-BA30E1967E50}"/>
              </a:ext>
            </a:extLst>
          </p:cNvPr>
          <p:cNvSpPr>
            <a:spLocks/>
          </p:cNvSpPr>
          <p:nvPr/>
        </p:nvSpPr>
        <p:spPr bwMode="gray">
          <a:xfrm>
            <a:off x="3741493" y="5311003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aintenance of IDS </a:t>
            </a:r>
            <a:r>
              <a:rPr lang="en-GB" dirty="0" err="1"/>
              <a:t>Infomodel</a:t>
            </a:r>
            <a:r>
              <a:rPr lang="en-GB" dirty="0"/>
              <a:t> Serializer and </a:t>
            </a:r>
            <a:r>
              <a:rPr lang="en-GB" dirty="0" err="1"/>
              <a:t>CodeGen</a:t>
            </a:r>
            <a:r>
              <a:rPr lang="en-GB" dirty="0"/>
              <a:t> tools</a:t>
            </a: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4988D0D2-B95B-45B4-A8C4-A369760D23C3}"/>
              </a:ext>
            </a:extLst>
          </p:cNvPr>
          <p:cNvSpPr>
            <a:spLocks/>
          </p:cNvSpPr>
          <p:nvPr/>
        </p:nvSpPr>
        <p:spPr bwMode="gray">
          <a:xfrm rot="5400000">
            <a:off x="3317664" y="5389000"/>
            <a:ext cx="673872" cy="517879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pic>
        <p:nvPicPr>
          <p:cNvPr id="21" name="Bildplatzhalter 9">
            <a:extLst>
              <a:ext uri="{FF2B5EF4-FFF2-40B4-BE49-F238E27FC236}">
                <a16:creationId xmlns:a16="http://schemas.microsoft.com/office/drawing/2014/main" id="{86BCF63F-6DB3-4098-ACED-688DA973B7B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5344" r="17973"/>
          <a:stretch/>
        </p:blipFill>
        <p:spPr bwMode="gray">
          <a:xfrm>
            <a:off x="0" y="1700213"/>
            <a:ext cx="3000375" cy="4284661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EE9E44C2-4ABC-4F95-85DB-49CEB04C2B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9947" y="404519"/>
            <a:ext cx="2019948" cy="701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175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Link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0CCF0D-0D16-4045-A5F7-411AC73F3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D59304-162D-49DF-9867-6D19C6DA67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11233149" cy="4047262"/>
          </a:xfrm>
        </p:spPr>
        <p:txBody>
          <a:bodyPr/>
          <a:lstStyle/>
          <a:p>
            <a:pPr lvl="3"/>
            <a:r>
              <a:rPr lang="en-GB" sz="1600" dirty="0">
                <a:sym typeface="Wingdings" panose="05000000000000000000" pitchFamily="2" charset="2"/>
              </a:rPr>
              <a:t>Eclipse Foundation</a:t>
            </a: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Eclipse project page: </a:t>
            </a:r>
            <a:r>
              <a:rPr lang="en-GB" sz="1600" dirty="0">
                <a:sym typeface="Wingdings" panose="05000000000000000000" pitchFamily="2" charset="2"/>
                <a:hlinkClick r:id="rId2"/>
              </a:rPr>
              <a:t>https://projects.eclipse.org/projects/technology.dataspaceconnector</a:t>
            </a:r>
            <a:endParaRPr lang="en-GB" sz="1600" dirty="0">
              <a:sym typeface="Wingdings" panose="05000000000000000000" pitchFamily="2" charset="2"/>
            </a:endParaRP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EDC project proposal: </a:t>
            </a:r>
            <a:r>
              <a:rPr lang="en-GB" sz="1600" dirty="0">
                <a:sym typeface="Wingdings" panose="05000000000000000000" pitchFamily="2" charset="2"/>
                <a:hlinkClick r:id="rId3"/>
              </a:rPr>
              <a:t>https://projects.eclipse.org/proposals/eclipse-dataspace-connector</a:t>
            </a:r>
            <a:endParaRPr lang="en-GB" sz="1600" dirty="0">
              <a:sym typeface="Wingdings" panose="05000000000000000000" pitchFamily="2" charset="2"/>
            </a:endParaRP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Community mailing list: </a:t>
            </a:r>
            <a:r>
              <a:rPr lang="en-GB" sz="1600" dirty="0">
                <a:sym typeface="Wingdings" panose="05000000000000000000" pitchFamily="2" charset="2"/>
                <a:hlinkClick r:id="rId4"/>
              </a:rPr>
              <a:t>https://accounts.eclipse.org/mailing-list/dataspaceconnector-community</a:t>
            </a:r>
            <a:r>
              <a:rPr lang="en-GB" sz="1600" dirty="0">
                <a:sym typeface="Wingdings" panose="05000000000000000000" pitchFamily="2" charset="2"/>
              </a:rPr>
              <a:t> </a:t>
            </a: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Developer mailing list: </a:t>
            </a:r>
            <a:r>
              <a:rPr lang="en-GB" sz="1600" dirty="0">
                <a:sym typeface="Wingdings" panose="05000000000000000000" pitchFamily="2" charset="2"/>
                <a:hlinkClick r:id="rId5"/>
              </a:rPr>
              <a:t>https://accounts.eclipse.org/mailing-list/dataspaceconnector-dev</a:t>
            </a:r>
            <a:r>
              <a:rPr lang="en-GB" sz="1600" dirty="0">
                <a:sym typeface="Wingdings" panose="05000000000000000000" pitchFamily="2" charset="2"/>
              </a:rPr>
              <a:t> </a:t>
            </a:r>
          </a:p>
          <a:p>
            <a:pPr lvl="3"/>
            <a:endParaRPr lang="en-GB" sz="1600" dirty="0">
              <a:sym typeface="Wingdings" panose="05000000000000000000" pitchFamily="2" charset="2"/>
            </a:endParaRP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GitHub</a:t>
            </a: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Main Repository: </a:t>
            </a:r>
            <a:r>
              <a:rPr lang="en-GB" sz="1600" dirty="0">
                <a:sym typeface="Wingdings" panose="05000000000000000000" pitchFamily="2" charset="2"/>
                <a:hlinkClick r:id="rId6"/>
              </a:rPr>
              <a:t>https://github.com/eclipse-dataspaceconnector/DataSpaceConnector</a:t>
            </a:r>
            <a:endParaRPr lang="en-GB" sz="1600" dirty="0">
              <a:sym typeface="Wingdings" panose="05000000000000000000" pitchFamily="2" charset="2"/>
            </a:endParaRP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Documents &amp; presentations: </a:t>
            </a:r>
            <a:r>
              <a:rPr lang="en-GB" sz="1600" dirty="0">
                <a:sym typeface="Wingdings" panose="05000000000000000000" pitchFamily="2" charset="2"/>
                <a:hlinkClick r:id="rId7"/>
              </a:rPr>
              <a:t>https://github.com/eclipse-dataspaceconnector/Collateral</a:t>
            </a:r>
            <a:r>
              <a:rPr lang="en-GB" sz="1600" dirty="0">
                <a:sym typeface="Wingdings" panose="05000000000000000000" pitchFamily="2" charset="2"/>
              </a:rPr>
              <a:t> </a:t>
            </a:r>
          </a:p>
          <a:p>
            <a:pPr lvl="4"/>
            <a:r>
              <a:rPr lang="en-GB" sz="1600" dirty="0">
                <a:sym typeface="Wingdings" panose="05000000000000000000" pitchFamily="2" charset="2"/>
              </a:rPr>
              <a:t>Publications: </a:t>
            </a:r>
            <a:r>
              <a:rPr lang="en-GB" sz="1600" dirty="0">
                <a:sym typeface="Wingdings" panose="05000000000000000000" pitchFamily="2" charset="2"/>
                <a:hlinkClick r:id="rId8"/>
              </a:rPr>
              <a:t>https://github.com/eclipse-dataspaceconnector/Publications</a:t>
            </a:r>
            <a:endParaRPr lang="en-GB" sz="1600" dirty="0">
              <a:sym typeface="Wingdings" panose="05000000000000000000" pitchFamily="2" charset="2"/>
            </a:endParaRPr>
          </a:p>
          <a:p>
            <a:pPr lvl="4"/>
            <a:endParaRPr lang="en-GB" sz="1600" dirty="0">
              <a:sym typeface="Wingdings" panose="05000000000000000000" pitchFamily="2" charset="2"/>
            </a:endParaRP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Documentation: </a:t>
            </a:r>
            <a:r>
              <a:rPr lang="en-GB" sz="1600" dirty="0">
                <a:sym typeface="Wingdings" panose="05000000000000000000" pitchFamily="2" charset="2"/>
                <a:hlinkClick r:id="rId9"/>
              </a:rPr>
              <a:t>https://eclipse-dataspaceconnector.github.io/DataSpaceConnector/</a:t>
            </a:r>
            <a:r>
              <a:rPr lang="en-GB" sz="1600" dirty="0">
                <a:sym typeface="Wingdings" panose="05000000000000000000" pitchFamily="2" charset="2"/>
              </a:rPr>
              <a:t>  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Bi-weekly Q&amp;A session: </a:t>
            </a:r>
            <a:r>
              <a:rPr lang="en-GB" sz="1600" dirty="0">
                <a:sym typeface="Wingdings" panose="05000000000000000000" pitchFamily="2" charset="2"/>
                <a:hlinkClick r:id="rId10"/>
              </a:rPr>
              <a:t>https://github.com/eclipse-dataspaceconnector/DataSpaceConnector/discussions/1303</a:t>
            </a:r>
            <a:r>
              <a:rPr lang="en-GB" sz="1600" dirty="0">
                <a:sym typeface="Wingdings" panose="05000000000000000000" pitchFamily="2" charset="2"/>
              </a:rPr>
              <a:t> </a:t>
            </a:r>
          </a:p>
          <a:p>
            <a:pPr lvl="3"/>
            <a:endParaRPr lang="en-GB" sz="1600" dirty="0">
              <a:sym typeface="Wingdings" panose="05000000000000000000" pitchFamily="2" charset="2"/>
            </a:endParaRP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YouTube Channel: </a:t>
            </a:r>
            <a:r>
              <a:rPr lang="en-GB" sz="1600" dirty="0">
                <a:sym typeface="Wingdings" panose="05000000000000000000" pitchFamily="2" charset="2"/>
                <a:hlinkClick r:id="rId11"/>
              </a:rPr>
              <a:t>https://www.youtube.com/channel/UCYmjEHtMSzycheBB4AeITHg</a:t>
            </a:r>
            <a:endParaRPr lang="en-GB" sz="1600" dirty="0">
              <a:sym typeface="Wingdings" panose="05000000000000000000" pitchFamily="2" charset="2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C16CAA7-2D1E-4830-80E5-81BF047C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5977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9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F26E66F2-6266-4A7A-BF04-EA172234B2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/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805952"/>
            <a:ext cx="6434357" cy="3532095"/>
          </a:xfrm>
          <a:gradFill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r>
              <a:rPr lang="de-DE" dirty="0"/>
              <a:t>Contac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Julia Pampus, M.Sc.</a:t>
            </a:r>
          </a:p>
          <a:p>
            <a:pPr lvl="2"/>
            <a:r>
              <a:rPr lang="de-DE" dirty="0"/>
              <a:t>Research Associate, Data Business</a:t>
            </a:r>
          </a:p>
          <a:p>
            <a:pPr lvl="2"/>
            <a:r>
              <a:rPr lang="de-DE" dirty="0"/>
              <a:t>Tel. +49 231 97677 - 429</a:t>
            </a:r>
          </a:p>
          <a:p>
            <a:pPr lvl="2"/>
            <a:r>
              <a:rPr lang="de-DE" dirty="0"/>
              <a:t>julia.pampus@isst.fraunhofer.de</a:t>
            </a:r>
          </a:p>
          <a:p>
            <a:pPr lvl="2"/>
            <a:endParaRPr lang="de-DE" dirty="0"/>
          </a:p>
          <a:p>
            <a:pPr lvl="2"/>
            <a:r>
              <a:rPr lang="de-DE" dirty="0">
                <a:latin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sst.fraunhofer.de/en.html</a:t>
            </a:r>
            <a:r>
              <a:rPr lang="de-DE" dirty="0">
                <a:latin typeface="+mn-lt"/>
              </a:rPr>
              <a:t> 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9BD5ABC6-AA49-4A56-AFDA-6A120F4EFB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2575" y="375582"/>
            <a:ext cx="2520000" cy="1097419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3CAF1C-7A23-4296-8B48-4E7B0595402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F9A456A-3DD4-4898-B53C-DCE0C71073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7207D5D-E75E-48E9-8981-83DC25AE3CB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2021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8C80B8-B844-464A-9ECD-32CEB150B67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AAF819-855E-4B2E-B3F8-E1ED0B4CCA6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C8D9E-542A-4554-B39C-04EA4404C4B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8EA4221-3D0B-494A-8ADB-2D2B6CBEC0DF}"/>
              </a:ext>
            </a:extLst>
          </p:cNvPr>
          <p:cNvSpPr txBox="1">
            <a:spLocks/>
          </p:cNvSpPr>
          <p:nvPr/>
        </p:nvSpPr>
        <p:spPr bwMode="gray">
          <a:xfrm>
            <a:off x="479425" y="3681640"/>
            <a:ext cx="11233149" cy="1780718"/>
          </a:xfrm>
          <a:prstGeom prst="rect">
            <a:avLst/>
          </a:prstGeom>
          <a:noFill/>
        </p:spPr>
        <p:txBody>
          <a:bodyPr vert="horz" lIns="486000" tIns="360000" rIns="360000" bIns="36000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6600" dirty="0" err="1"/>
              <a:t>Thank</a:t>
            </a:r>
            <a:r>
              <a:rPr lang="de-DE" sz="6600" dirty="0"/>
              <a:t> </a:t>
            </a:r>
            <a:r>
              <a:rPr lang="de-DE" sz="6600" dirty="0" err="1"/>
              <a:t>You</a:t>
            </a:r>
            <a:r>
              <a:rPr lang="de-DE" sz="6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406585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illars </a:t>
            </a:r>
            <a:r>
              <a:rPr lang="de-DE" dirty="0" err="1"/>
              <a:t>of</a:t>
            </a:r>
            <a:r>
              <a:rPr lang="de-DE" dirty="0"/>
              <a:t> a Data Spa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0CCF0D-0D16-4045-A5F7-411AC73F3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D59304-162D-49DF-9867-6D19C6DA67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11233149" cy="2151358"/>
          </a:xfrm>
        </p:spPr>
        <p:txBody>
          <a:bodyPr/>
          <a:lstStyle/>
          <a:p>
            <a:pPr lvl="3"/>
            <a:r>
              <a:rPr lang="en-GB" sz="1600" dirty="0">
                <a:sym typeface="Wingdings" panose="05000000000000000000" pitchFamily="2" charset="2"/>
              </a:rPr>
              <a:t>Data spaces allow organizations to securely share data with other participants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Data spaces enable data cooperation in a multi-cloud federation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Data spaces are built on </a:t>
            </a:r>
          </a:p>
          <a:p>
            <a:pPr lvl="4"/>
            <a:r>
              <a:rPr lang="en-GB" sz="1600" b="1" dirty="0">
                <a:solidFill>
                  <a:srgbClr val="179C7D"/>
                </a:solidFill>
                <a:sym typeface="Wingdings" panose="05000000000000000000" pitchFamily="2" charset="2"/>
              </a:rPr>
              <a:t>Identity</a:t>
            </a:r>
            <a:r>
              <a:rPr lang="en-GB" sz="1600" dirty="0">
                <a:sym typeface="Wingdings" panose="05000000000000000000" pitchFamily="2" charset="2"/>
              </a:rPr>
              <a:t>: Each participant remains in control of their identity</a:t>
            </a:r>
          </a:p>
          <a:p>
            <a:pPr lvl="4"/>
            <a:r>
              <a:rPr lang="en-GB" sz="1600" b="1" dirty="0">
                <a:solidFill>
                  <a:srgbClr val="179C7D"/>
                </a:solidFill>
                <a:sym typeface="Wingdings" panose="05000000000000000000" pitchFamily="2" charset="2"/>
              </a:rPr>
              <a:t>Trust</a:t>
            </a:r>
            <a:r>
              <a:rPr lang="en-GB" sz="1600" dirty="0">
                <a:sym typeface="Wingdings" panose="05000000000000000000" pitchFamily="2" charset="2"/>
              </a:rPr>
              <a:t>: Each participant decides who to trust</a:t>
            </a:r>
          </a:p>
          <a:p>
            <a:pPr lvl="4"/>
            <a:r>
              <a:rPr lang="en-GB" sz="1600" b="1" dirty="0">
                <a:solidFill>
                  <a:srgbClr val="179C7D"/>
                </a:solidFill>
                <a:sym typeface="Wingdings" panose="05000000000000000000" pitchFamily="2" charset="2"/>
              </a:rPr>
              <a:t>Sovereignty</a:t>
            </a:r>
            <a:r>
              <a:rPr lang="en-GB" sz="1600" dirty="0">
                <a:sym typeface="Wingdings" panose="05000000000000000000" pitchFamily="2" charset="2"/>
              </a:rPr>
              <a:t>: Each participant decides under what policies their data is shared</a:t>
            </a:r>
          </a:p>
          <a:p>
            <a:pPr lvl="4"/>
            <a:r>
              <a:rPr lang="en-GB" sz="1600" b="1" dirty="0">
                <a:solidFill>
                  <a:srgbClr val="179C7D"/>
                </a:solidFill>
                <a:sym typeface="Wingdings" panose="05000000000000000000" pitchFamily="2" charset="2"/>
              </a:rPr>
              <a:t>Interoperability</a:t>
            </a:r>
            <a:r>
              <a:rPr lang="en-GB" sz="1600" dirty="0">
                <a:sym typeface="Wingdings" panose="05000000000000000000" pitchFamily="2" charset="2"/>
              </a:rPr>
              <a:t>: Each participant remains in control of their deployment</a:t>
            </a:r>
          </a:p>
          <a:p>
            <a:pPr lvl="3"/>
            <a:endParaRPr lang="en-GB" sz="1600" dirty="0">
              <a:sym typeface="Wingdings" panose="05000000000000000000" pitchFamily="2" charset="2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C16CAA7-2D1E-4830-80E5-81BF047C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86" name="Diagram 5">
            <a:extLst>
              <a:ext uri="{FF2B5EF4-FFF2-40B4-BE49-F238E27FC236}">
                <a16:creationId xmlns:a16="http://schemas.microsoft.com/office/drawing/2014/main" id="{F94BF63E-501B-4B92-9479-7292518F1C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8783274"/>
              </p:ext>
            </p:extLst>
          </p:nvPr>
        </p:nvGraphicFramePr>
        <p:xfrm>
          <a:off x="2139362" y="4460880"/>
          <a:ext cx="7910819" cy="580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52442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w Data Sharing Challeng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0CCF0D-0D16-4045-A5F7-411AC73F3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D59304-162D-49DF-9867-6D19C6DA67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529534" cy="1609671"/>
          </a:xfrm>
        </p:spPr>
        <p:txBody>
          <a:bodyPr/>
          <a:lstStyle/>
          <a:p>
            <a:pPr lvl="3"/>
            <a:r>
              <a:rPr lang="en-GB" sz="1600" dirty="0">
                <a:sym typeface="Wingdings" panose="05000000000000000000" pitchFamily="2" charset="2"/>
              </a:rPr>
              <a:t>Connection and interoperability with multiple data spaces 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Identity across multiple jurisdictions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Handle diverse data (transfer) types (e.g., streaming, big data)</a:t>
            </a:r>
          </a:p>
          <a:p>
            <a:pPr lvl="3"/>
            <a:r>
              <a:rPr lang="en-GB" sz="1600" dirty="0" err="1">
                <a:sym typeface="Wingdings" panose="05000000000000000000" pitchFamily="2" charset="2"/>
              </a:rPr>
              <a:t>Cataloging</a:t>
            </a:r>
            <a:r>
              <a:rPr lang="en-GB" sz="1600" dirty="0">
                <a:sym typeface="Wingdings" panose="05000000000000000000" pitchFamily="2" charset="2"/>
              </a:rPr>
              <a:t> across many data providers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Policy management on multiple infrastructure layers</a:t>
            </a:r>
          </a:p>
          <a:p>
            <a:pPr lvl="3"/>
            <a:r>
              <a:rPr lang="en-GB" sz="1600" dirty="0">
                <a:sym typeface="Wingdings" panose="05000000000000000000" pitchFamily="2" charset="2"/>
              </a:rPr>
              <a:t>Accommodate diverse requirements and use case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C16CAA7-2D1E-4830-80E5-81BF047C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8DCB3264-D7B0-420C-B27A-8D2F398D1423}"/>
              </a:ext>
            </a:extLst>
          </p:cNvPr>
          <p:cNvSpPr/>
          <p:nvPr/>
        </p:nvSpPr>
        <p:spPr>
          <a:xfrm rot="9150231">
            <a:off x="8159265" y="3079046"/>
            <a:ext cx="3659582" cy="2435660"/>
          </a:xfrm>
          <a:prstGeom prst="ellipse">
            <a:avLst/>
          </a:prstGeom>
          <a:noFill/>
          <a:ln>
            <a:solidFill>
              <a:schemeClr val="tx1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D09D0501-A14C-43D4-AD60-BCA42C10383B}"/>
              </a:ext>
            </a:extLst>
          </p:cNvPr>
          <p:cNvSpPr/>
          <p:nvPr/>
        </p:nvSpPr>
        <p:spPr>
          <a:xfrm rot="1495770">
            <a:off x="6124054" y="2781957"/>
            <a:ext cx="4200270" cy="2695583"/>
          </a:xfrm>
          <a:prstGeom prst="ellipse">
            <a:avLst/>
          </a:prstGeom>
          <a:noFill/>
          <a:ln>
            <a:solidFill>
              <a:schemeClr val="tx1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0923E2ED-EA68-42E9-9D23-78F6539EFD71}"/>
              </a:ext>
            </a:extLst>
          </p:cNvPr>
          <p:cNvSpPr/>
          <p:nvPr/>
        </p:nvSpPr>
        <p:spPr>
          <a:xfrm>
            <a:off x="7122141" y="3153880"/>
            <a:ext cx="359860" cy="35986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3031DBC3-8537-4BDC-A039-D91093F57577}"/>
              </a:ext>
            </a:extLst>
          </p:cNvPr>
          <p:cNvSpPr/>
          <p:nvPr/>
        </p:nvSpPr>
        <p:spPr>
          <a:xfrm>
            <a:off x="7225862" y="4430794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34A5216C-3CBF-405B-B50B-D0C38BD2D74E}"/>
              </a:ext>
            </a:extLst>
          </p:cNvPr>
          <p:cNvSpPr/>
          <p:nvPr/>
        </p:nvSpPr>
        <p:spPr>
          <a:xfrm>
            <a:off x="6540184" y="3411209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A0D5E259-9510-4064-8C84-17EA7F450E50}"/>
              </a:ext>
            </a:extLst>
          </p:cNvPr>
          <p:cNvSpPr/>
          <p:nvPr/>
        </p:nvSpPr>
        <p:spPr>
          <a:xfrm>
            <a:off x="6648142" y="3519168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64FD22CF-2D79-4873-B5ED-BF9DF881FAF2}"/>
              </a:ext>
            </a:extLst>
          </p:cNvPr>
          <p:cNvSpPr/>
          <p:nvPr/>
        </p:nvSpPr>
        <p:spPr>
          <a:xfrm>
            <a:off x="7835781" y="3960716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2D216C4A-BA8B-49C6-95F5-01F7A548F68C}"/>
              </a:ext>
            </a:extLst>
          </p:cNvPr>
          <p:cNvSpPr/>
          <p:nvPr/>
        </p:nvSpPr>
        <p:spPr>
          <a:xfrm>
            <a:off x="7943740" y="4068675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AFCB4C91-40C3-44EA-8D64-330D33F85308}"/>
              </a:ext>
            </a:extLst>
          </p:cNvPr>
          <p:cNvSpPr/>
          <p:nvPr/>
        </p:nvSpPr>
        <p:spPr>
          <a:xfrm>
            <a:off x="7194113" y="3740096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60DA8F22-4B94-413E-91D3-18AB16BF7140}"/>
              </a:ext>
            </a:extLst>
          </p:cNvPr>
          <p:cNvSpPr/>
          <p:nvPr/>
        </p:nvSpPr>
        <p:spPr>
          <a:xfrm>
            <a:off x="7302071" y="3848054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E92E249C-F35C-45EF-98BC-9330C7BB2D2F}"/>
              </a:ext>
            </a:extLst>
          </p:cNvPr>
          <p:cNvSpPr/>
          <p:nvPr/>
        </p:nvSpPr>
        <p:spPr>
          <a:xfrm>
            <a:off x="6565245" y="4057090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27BE5260-ED5C-4B01-8373-3541149D1936}"/>
              </a:ext>
            </a:extLst>
          </p:cNvPr>
          <p:cNvSpPr/>
          <p:nvPr/>
        </p:nvSpPr>
        <p:spPr>
          <a:xfrm>
            <a:off x="6673203" y="4165048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0FAF4267-A30F-47EA-A319-22258E812E4E}"/>
              </a:ext>
            </a:extLst>
          </p:cNvPr>
          <p:cNvSpPr/>
          <p:nvPr/>
        </p:nvSpPr>
        <p:spPr>
          <a:xfrm>
            <a:off x="8187577" y="2841557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1AF68FB-F7E2-4FB3-897A-B7B790CB9535}"/>
              </a:ext>
            </a:extLst>
          </p:cNvPr>
          <p:cNvSpPr/>
          <p:nvPr/>
        </p:nvSpPr>
        <p:spPr>
          <a:xfrm>
            <a:off x="8295536" y="2949515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B2664FC6-6394-4B1E-A3C9-80572A9751FB}"/>
              </a:ext>
            </a:extLst>
          </p:cNvPr>
          <p:cNvSpPr/>
          <p:nvPr/>
        </p:nvSpPr>
        <p:spPr>
          <a:xfrm>
            <a:off x="7338989" y="4538752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I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06116666-1CBE-4572-AF1B-A715881FD4DD}"/>
              </a:ext>
            </a:extLst>
          </p:cNvPr>
          <p:cNvCxnSpPr>
            <a:stCxn id="14" idx="7"/>
            <a:endCxn id="12" idx="2"/>
          </p:cNvCxnSpPr>
          <p:nvPr/>
        </p:nvCxnSpPr>
        <p:spPr>
          <a:xfrm flipV="1">
            <a:off x="6847343" y="3333811"/>
            <a:ext cx="274799" cy="13010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599E0EF8-53F5-4E90-AA1A-4DC7B3FB06D3}"/>
              </a:ext>
            </a:extLst>
          </p:cNvPr>
          <p:cNvCxnSpPr>
            <a:stCxn id="12" idx="4"/>
            <a:endCxn id="18" idx="0"/>
          </p:cNvCxnSpPr>
          <p:nvPr/>
        </p:nvCxnSpPr>
        <p:spPr>
          <a:xfrm>
            <a:off x="7302071" y="3513740"/>
            <a:ext cx="71972" cy="226356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663460B8-DD9F-412A-8C5D-44CEA21F9B87}"/>
              </a:ext>
            </a:extLst>
          </p:cNvPr>
          <p:cNvCxnSpPr>
            <a:stCxn id="22" idx="2"/>
            <a:endCxn id="12" idx="7"/>
          </p:cNvCxnSpPr>
          <p:nvPr/>
        </p:nvCxnSpPr>
        <p:spPr>
          <a:xfrm flipH="1">
            <a:off x="7429301" y="3021487"/>
            <a:ext cx="758277" cy="185094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95C0FD91-C17B-424C-88DA-1B6177D40288}"/>
              </a:ext>
            </a:extLst>
          </p:cNvPr>
          <p:cNvCxnSpPr>
            <a:stCxn id="22" idx="3"/>
            <a:endCxn id="18" idx="7"/>
          </p:cNvCxnSpPr>
          <p:nvPr/>
        </p:nvCxnSpPr>
        <p:spPr>
          <a:xfrm flipH="1">
            <a:off x="7501273" y="3148717"/>
            <a:ext cx="739004" cy="64407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29A1727-67B4-4EF2-9646-86F0A0687482}"/>
              </a:ext>
            </a:extLst>
          </p:cNvPr>
          <p:cNvCxnSpPr>
            <a:stCxn id="18" idx="5"/>
            <a:endCxn id="16" idx="2"/>
          </p:cNvCxnSpPr>
          <p:nvPr/>
        </p:nvCxnSpPr>
        <p:spPr>
          <a:xfrm>
            <a:off x="7501273" y="4047255"/>
            <a:ext cx="334510" cy="9339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63DA6D2-B08D-43DF-9981-FC5817CC9FC0}"/>
              </a:ext>
            </a:extLst>
          </p:cNvPr>
          <p:cNvCxnSpPr>
            <a:stCxn id="18" idx="3"/>
            <a:endCxn id="20" idx="7"/>
          </p:cNvCxnSpPr>
          <p:nvPr/>
        </p:nvCxnSpPr>
        <p:spPr>
          <a:xfrm flipH="1">
            <a:off x="6872405" y="4047255"/>
            <a:ext cx="374410" cy="62535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F339DD4-BD57-4239-A42D-CCD3022689F1}"/>
              </a:ext>
            </a:extLst>
          </p:cNvPr>
          <p:cNvCxnSpPr>
            <a:stCxn id="14" idx="4"/>
            <a:endCxn id="20" idx="0"/>
          </p:cNvCxnSpPr>
          <p:nvPr/>
        </p:nvCxnSpPr>
        <p:spPr>
          <a:xfrm>
            <a:off x="6720114" y="3771070"/>
            <a:ext cx="25061" cy="28602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24E69F4-14CC-42AE-92B1-B3545FF1BCFE}"/>
              </a:ext>
            </a:extLst>
          </p:cNvPr>
          <p:cNvCxnSpPr>
            <a:stCxn id="13" idx="2"/>
            <a:endCxn id="20" idx="5"/>
          </p:cNvCxnSpPr>
          <p:nvPr/>
        </p:nvCxnSpPr>
        <p:spPr>
          <a:xfrm flipH="1" flipV="1">
            <a:off x="6872405" y="4364250"/>
            <a:ext cx="353457" cy="246474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D911A801-82F5-4811-A743-913EB82AB8AE}"/>
              </a:ext>
            </a:extLst>
          </p:cNvPr>
          <p:cNvCxnSpPr>
            <a:stCxn id="16" idx="3"/>
            <a:endCxn id="13" idx="6"/>
          </p:cNvCxnSpPr>
          <p:nvPr/>
        </p:nvCxnSpPr>
        <p:spPr>
          <a:xfrm flipH="1">
            <a:off x="7585722" y="4267877"/>
            <a:ext cx="302760" cy="342847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668B75B-A5C3-4D41-AFD1-148827F90E04}"/>
              </a:ext>
            </a:extLst>
          </p:cNvPr>
          <p:cNvCxnSpPr>
            <a:stCxn id="18" idx="4"/>
            <a:endCxn id="13" idx="0"/>
          </p:cNvCxnSpPr>
          <p:nvPr/>
        </p:nvCxnSpPr>
        <p:spPr>
          <a:xfrm>
            <a:off x="7374043" y="4099956"/>
            <a:ext cx="31748" cy="330838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FC6E1DB7-FC2A-4145-AAA8-B6EE41D8E568}"/>
              </a:ext>
            </a:extLst>
          </p:cNvPr>
          <p:cNvCxnSpPr>
            <a:stCxn id="12" idx="3"/>
            <a:endCxn id="20" idx="7"/>
          </p:cNvCxnSpPr>
          <p:nvPr/>
        </p:nvCxnSpPr>
        <p:spPr>
          <a:xfrm flipH="1">
            <a:off x="6872405" y="3461040"/>
            <a:ext cx="302437" cy="64875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6B2C468A-8702-4D90-A8F7-03ABB11CF806}"/>
              </a:ext>
            </a:extLst>
          </p:cNvPr>
          <p:cNvCxnSpPr>
            <a:stCxn id="22" idx="4"/>
            <a:endCxn id="16" idx="7"/>
          </p:cNvCxnSpPr>
          <p:nvPr/>
        </p:nvCxnSpPr>
        <p:spPr>
          <a:xfrm flipH="1">
            <a:off x="8142940" y="3201416"/>
            <a:ext cx="224567" cy="81200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Ellipse 36">
            <a:extLst>
              <a:ext uri="{FF2B5EF4-FFF2-40B4-BE49-F238E27FC236}">
                <a16:creationId xmlns:a16="http://schemas.microsoft.com/office/drawing/2014/main" id="{E6B56C15-C33A-48DE-BF23-DA886B534F01}"/>
              </a:ext>
            </a:extLst>
          </p:cNvPr>
          <p:cNvSpPr/>
          <p:nvPr/>
        </p:nvSpPr>
        <p:spPr>
          <a:xfrm>
            <a:off x="11079661" y="3237378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3EA73474-5522-4EA9-A06D-BDBC347530F1}"/>
              </a:ext>
            </a:extLst>
          </p:cNvPr>
          <p:cNvSpPr/>
          <p:nvPr/>
        </p:nvSpPr>
        <p:spPr>
          <a:xfrm>
            <a:off x="11187620" y="3345336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927E2A67-7368-4AF7-8EAD-15D81AF9C3A3}"/>
              </a:ext>
            </a:extLst>
          </p:cNvPr>
          <p:cNvSpPr/>
          <p:nvPr/>
        </p:nvSpPr>
        <p:spPr>
          <a:xfrm>
            <a:off x="10366021" y="3107152"/>
            <a:ext cx="359860" cy="35986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C23A3F1F-8237-4BB9-8A34-CCD4FD40F2D9}"/>
              </a:ext>
            </a:extLst>
          </p:cNvPr>
          <p:cNvSpPr/>
          <p:nvPr/>
        </p:nvSpPr>
        <p:spPr>
          <a:xfrm>
            <a:off x="10469742" y="4279585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514ABE77-D29B-49B7-891E-549BF55BD1A8}"/>
              </a:ext>
            </a:extLst>
          </p:cNvPr>
          <p:cNvSpPr/>
          <p:nvPr/>
        </p:nvSpPr>
        <p:spPr>
          <a:xfrm>
            <a:off x="9784064" y="3364481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0186968-3586-4732-88CA-06C1555701F9}"/>
              </a:ext>
            </a:extLst>
          </p:cNvPr>
          <p:cNvSpPr/>
          <p:nvPr/>
        </p:nvSpPr>
        <p:spPr>
          <a:xfrm>
            <a:off x="9892022" y="3472440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EA899D28-420C-406B-B0CB-E98F84E3F32A}"/>
              </a:ext>
            </a:extLst>
          </p:cNvPr>
          <p:cNvSpPr/>
          <p:nvPr/>
        </p:nvSpPr>
        <p:spPr>
          <a:xfrm>
            <a:off x="11079661" y="3913989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0B205693-D239-4213-9A2F-8034EEABE2AE}"/>
              </a:ext>
            </a:extLst>
          </p:cNvPr>
          <p:cNvSpPr/>
          <p:nvPr/>
        </p:nvSpPr>
        <p:spPr>
          <a:xfrm>
            <a:off x="11187620" y="4021947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49EDE53D-A8E8-4265-9F71-A4B75D3C0DE2}"/>
              </a:ext>
            </a:extLst>
          </p:cNvPr>
          <p:cNvSpPr/>
          <p:nvPr/>
        </p:nvSpPr>
        <p:spPr>
          <a:xfrm>
            <a:off x="10437994" y="3693368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E60448B-B424-45F7-9C49-0E15ABDD2459}"/>
              </a:ext>
            </a:extLst>
          </p:cNvPr>
          <p:cNvSpPr/>
          <p:nvPr/>
        </p:nvSpPr>
        <p:spPr>
          <a:xfrm>
            <a:off x="10545952" y="3801326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2BFEB36D-54A5-4A45-BD7C-4257F6DE4008}"/>
              </a:ext>
            </a:extLst>
          </p:cNvPr>
          <p:cNvSpPr/>
          <p:nvPr/>
        </p:nvSpPr>
        <p:spPr>
          <a:xfrm>
            <a:off x="9809125" y="4010363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4FE72528-9CC2-4B41-926B-985614725BCF}"/>
              </a:ext>
            </a:extLst>
          </p:cNvPr>
          <p:cNvSpPr/>
          <p:nvPr/>
        </p:nvSpPr>
        <p:spPr>
          <a:xfrm>
            <a:off x="9917084" y="4118321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8FB0D7E-006B-444B-8475-D88203829328}"/>
              </a:ext>
            </a:extLst>
          </p:cNvPr>
          <p:cNvSpPr/>
          <p:nvPr/>
        </p:nvSpPr>
        <p:spPr>
          <a:xfrm>
            <a:off x="10582870" y="4387543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I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B019EFC1-4ABF-4E4D-BAEA-43DF4FDE309D}"/>
              </a:ext>
            </a:extLst>
          </p:cNvPr>
          <p:cNvCxnSpPr>
            <a:stCxn id="41" idx="7"/>
            <a:endCxn id="39" idx="2"/>
          </p:cNvCxnSpPr>
          <p:nvPr/>
        </p:nvCxnSpPr>
        <p:spPr>
          <a:xfrm flipV="1">
            <a:off x="10091223" y="3287083"/>
            <a:ext cx="274799" cy="13010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6CF39B3D-7F00-4AD6-9CE0-A1C8162F9A29}"/>
              </a:ext>
            </a:extLst>
          </p:cNvPr>
          <p:cNvCxnSpPr>
            <a:stCxn id="39" idx="4"/>
            <a:endCxn id="45" idx="0"/>
          </p:cNvCxnSpPr>
          <p:nvPr/>
        </p:nvCxnSpPr>
        <p:spPr>
          <a:xfrm>
            <a:off x="10545951" y="3467013"/>
            <a:ext cx="71972" cy="226356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A287D5CD-63AB-473C-ADAC-3FD285CD4E25}"/>
              </a:ext>
            </a:extLst>
          </p:cNvPr>
          <p:cNvCxnSpPr>
            <a:stCxn id="45" idx="7"/>
            <a:endCxn id="37" idx="3"/>
          </p:cNvCxnSpPr>
          <p:nvPr/>
        </p:nvCxnSpPr>
        <p:spPr>
          <a:xfrm flipV="1">
            <a:off x="10745153" y="3544537"/>
            <a:ext cx="387210" cy="20153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0FC7FEF9-14EE-4D92-A7B2-D2BC99E0C04D}"/>
              </a:ext>
            </a:extLst>
          </p:cNvPr>
          <p:cNvCxnSpPr>
            <a:stCxn id="37" idx="4"/>
            <a:endCxn id="43" idx="0"/>
          </p:cNvCxnSpPr>
          <p:nvPr/>
        </p:nvCxnSpPr>
        <p:spPr>
          <a:xfrm>
            <a:off x="11259591" y="3597239"/>
            <a:ext cx="0" cy="31675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26E66FB5-65A3-4934-9E27-55BEE0CF329F}"/>
              </a:ext>
            </a:extLst>
          </p:cNvPr>
          <p:cNvCxnSpPr>
            <a:stCxn id="45" idx="5"/>
            <a:endCxn id="43" idx="2"/>
          </p:cNvCxnSpPr>
          <p:nvPr/>
        </p:nvCxnSpPr>
        <p:spPr>
          <a:xfrm>
            <a:off x="10745153" y="4000528"/>
            <a:ext cx="334510" cy="9339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70E642C6-50D2-4B18-9749-C12AD03B9224}"/>
              </a:ext>
            </a:extLst>
          </p:cNvPr>
          <p:cNvCxnSpPr>
            <a:stCxn id="45" idx="3"/>
            <a:endCxn id="47" idx="7"/>
          </p:cNvCxnSpPr>
          <p:nvPr/>
        </p:nvCxnSpPr>
        <p:spPr>
          <a:xfrm flipH="1">
            <a:off x="10116285" y="4000528"/>
            <a:ext cx="374410" cy="62535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3CBC5972-E895-42CA-964E-AB31D47CE11C}"/>
              </a:ext>
            </a:extLst>
          </p:cNvPr>
          <p:cNvCxnSpPr>
            <a:stCxn id="41" idx="4"/>
            <a:endCxn id="47" idx="0"/>
          </p:cNvCxnSpPr>
          <p:nvPr/>
        </p:nvCxnSpPr>
        <p:spPr>
          <a:xfrm>
            <a:off x="9963994" y="3724343"/>
            <a:ext cx="25061" cy="28602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7494766E-D6E4-4443-B230-EAA6EF361A93}"/>
              </a:ext>
            </a:extLst>
          </p:cNvPr>
          <p:cNvCxnSpPr>
            <a:stCxn id="40" idx="2"/>
            <a:endCxn id="47" idx="5"/>
          </p:cNvCxnSpPr>
          <p:nvPr/>
        </p:nvCxnSpPr>
        <p:spPr>
          <a:xfrm flipH="1" flipV="1">
            <a:off x="10116285" y="4317522"/>
            <a:ext cx="353458" cy="141994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209A5F7B-0B15-421E-81CD-157CE50E3D77}"/>
              </a:ext>
            </a:extLst>
          </p:cNvPr>
          <p:cNvCxnSpPr>
            <a:stCxn id="43" idx="3"/>
            <a:endCxn id="40" idx="6"/>
          </p:cNvCxnSpPr>
          <p:nvPr/>
        </p:nvCxnSpPr>
        <p:spPr>
          <a:xfrm flipH="1">
            <a:off x="10829602" y="4221149"/>
            <a:ext cx="302761" cy="238367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AA8EA6AE-304E-4A2E-ABDF-CAB90E54959E}"/>
              </a:ext>
            </a:extLst>
          </p:cNvPr>
          <p:cNvCxnSpPr>
            <a:stCxn id="45" idx="4"/>
            <a:endCxn id="40" idx="0"/>
          </p:cNvCxnSpPr>
          <p:nvPr/>
        </p:nvCxnSpPr>
        <p:spPr>
          <a:xfrm>
            <a:off x="10617924" y="4053228"/>
            <a:ext cx="31748" cy="226358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989F8FDE-98C7-4E39-9EF4-F1EE32658571}"/>
              </a:ext>
            </a:extLst>
          </p:cNvPr>
          <p:cNvCxnSpPr>
            <a:stCxn id="39" idx="3"/>
            <a:endCxn id="47" idx="7"/>
          </p:cNvCxnSpPr>
          <p:nvPr/>
        </p:nvCxnSpPr>
        <p:spPr>
          <a:xfrm flipH="1">
            <a:off x="10116285" y="3414313"/>
            <a:ext cx="302437" cy="64875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8DC6A878-04D5-4D7B-80D0-40B7256A6F69}"/>
              </a:ext>
            </a:extLst>
          </p:cNvPr>
          <p:cNvCxnSpPr>
            <a:stCxn id="39" idx="6"/>
            <a:endCxn id="37" idx="2"/>
          </p:cNvCxnSpPr>
          <p:nvPr/>
        </p:nvCxnSpPr>
        <p:spPr>
          <a:xfrm>
            <a:off x="10725882" y="3287083"/>
            <a:ext cx="353781" cy="130226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D797BA5-9019-434D-ACF0-89D926EFA9D6}"/>
              </a:ext>
            </a:extLst>
          </p:cNvPr>
          <p:cNvCxnSpPr>
            <a:stCxn id="37" idx="2"/>
            <a:endCxn id="41" idx="6"/>
          </p:cNvCxnSpPr>
          <p:nvPr/>
        </p:nvCxnSpPr>
        <p:spPr>
          <a:xfrm flipH="1">
            <a:off x="10143924" y="3417310"/>
            <a:ext cx="935738" cy="127103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Ellipse 62">
            <a:extLst>
              <a:ext uri="{FF2B5EF4-FFF2-40B4-BE49-F238E27FC236}">
                <a16:creationId xmlns:a16="http://schemas.microsoft.com/office/drawing/2014/main" id="{0AC40E7F-391E-42AE-B91E-2A834E4A1258}"/>
              </a:ext>
            </a:extLst>
          </p:cNvPr>
          <p:cNvSpPr/>
          <p:nvPr/>
        </p:nvSpPr>
        <p:spPr>
          <a:xfrm>
            <a:off x="8908021" y="2136313"/>
            <a:ext cx="359860" cy="35986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7C690349-62C7-4F76-A024-5655AA918C77}"/>
              </a:ext>
            </a:extLst>
          </p:cNvPr>
          <p:cNvCxnSpPr>
            <a:stCxn id="63" idx="2"/>
            <a:endCxn id="12" idx="7"/>
          </p:cNvCxnSpPr>
          <p:nvPr/>
        </p:nvCxnSpPr>
        <p:spPr>
          <a:xfrm flipH="1">
            <a:off x="7429301" y="2316244"/>
            <a:ext cx="1478721" cy="890337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099A4912-44EC-446D-BCF7-D3E6AC494D31}"/>
              </a:ext>
            </a:extLst>
          </p:cNvPr>
          <p:cNvCxnSpPr>
            <a:stCxn id="63" idx="6"/>
            <a:endCxn id="39" idx="1"/>
          </p:cNvCxnSpPr>
          <p:nvPr/>
        </p:nvCxnSpPr>
        <p:spPr>
          <a:xfrm>
            <a:off x="9267882" y="2316244"/>
            <a:ext cx="1150840" cy="843609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CBA58E72-604A-4BEA-B67D-63AEBBCDA260}"/>
              </a:ext>
            </a:extLst>
          </p:cNvPr>
          <p:cNvCxnSpPr>
            <a:stCxn id="12" idx="6"/>
            <a:endCxn id="39" idx="2"/>
          </p:cNvCxnSpPr>
          <p:nvPr/>
        </p:nvCxnSpPr>
        <p:spPr>
          <a:xfrm flipV="1">
            <a:off x="7482001" y="3287082"/>
            <a:ext cx="2884020" cy="46728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Ellipse 66">
            <a:extLst>
              <a:ext uri="{FF2B5EF4-FFF2-40B4-BE49-F238E27FC236}">
                <a16:creationId xmlns:a16="http://schemas.microsoft.com/office/drawing/2014/main" id="{F7BEDC79-2693-4E2D-ADED-57579CD1BD11}"/>
              </a:ext>
            </a:extLst>
          </p:cNvPr>
          <p:cNvSpPr/>
          <p:nvPr/>
        </p:nvSpPr>
        <p:spPr>
          <a:xfrm>
            <a:off x="8972967" y="4204511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6203B4B3-61FC-482B-8712-82E668FC4421}"/>
              </a:ext>
            </a:extLst>
          </p:cNvPr>
          <p:cNvSpPr/>
          <p:nvPr/>
        </p:nvSpPr>
        <p:spPr>
          <a:xfrm>
            <a:off x="9080925" y="4312469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205B06EA-1041-4931-AEDF-264304231245}"/>
              </a:ext>
            </a:extLst>
          </p:cNvPr>
          <p:cNvCxnSpPr>
            <a:stCxn id="47" idx="2"/>
            <a:endCxn id="67" idx="7"/>
          </p:cNvCxnSpPr>
          <p:nvPr/>
        </p:nvCxnSpPr>
        <p:spPr>
          <a:xfrm flipH="1">
            <a:off x="9280127" y="4190292"/>
            <a:ext cx="528998" cy="669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AF239BDC-C883-43AB-963C-D11C54FDD354}"/>
              </a:ext>
            </a:extLst>
          </p:cNvPr>
          <p:cNvCxnSpPr>
            <a:stCxn id="41" idx="3"/>
            <a:endCxn id="67" idx="7"/>
          </p:cNvCxnSpPr>
          <p:nvPr/>
        </p:nvCxnSpPr>
        <p:spPr>
          <a:xfrm flipH="1">
            <a:off x="9280127" y="3671642"/>
            <a:ext cx="556638" cy="58557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Ellipse 70">
            <a:extLst>
              <a:ext uri="{FF2B5EF4-FFF2-40B4-BE49-F238E27FC236}">
                <a16:creationId xmlns:a16="http://schemas.microsoft.com/office/drawing/2014/main" id="{486A268B-E6E4-429A-9664-885075BE79B7}"/>
              </a:ext>
            </a:extLst>
          </p:cNvPr>
          <p:cNvSpPr/>
          <p:nvPr/>
        </p:nvSpPr>
        <p:spPr>
          <a:xfrm>
            <a:off x="9466927" y="4959394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9CABD24A-0A24-4CE7-9295-3EF790E828EB}"/>
              </a:ext>
            </a:extLst>
          </p:cNvPr>
          <p:cNvSpPr/>
          <p:nvPr/>
        </p:nvSpPr>
        <p:spPr>
          <a:xfrm>
            <a:off x="9574885" y="5067352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6595DC1C-C3F8-4F32-B963-AFDA40B2F8F6}"/>
              </a:ext>
            </a:extLst>
          </p:cNvPr>
          <p:cNvSpPr/>
          <p:nvPr/>
        </p:nvSpPr>
        <p:spPr>
          <a:xfrm>
            <a:off x="8548162" y="4676986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17C0B4B8-6E9A-40A7-BAEF-BB63CBEF598E}"/>
              </a:ext>
            </a:extLst>
          </p:cNvPr>
          <p:cNvSpPr/>
          <p:nvPr/>
        </p:nvSpPr>
        <p:spPr>
          <a:xfrm>
            <a:off x="8656120" y="4784944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E89BC1E3-0EC8-41A2-99A5-5B8BB55F88BA}"/>
              </a:ext>
            </a:extLst>
          </p:cNvPr>
          <p:cNvSpPr/>
          <p:nvPr/>
        </p:nvSpPr>
        <p:spPr>
          <a:xfrm>
            <a:off x="8916704" y="3616384"/>
            <a:ext cx="359860" cy="3598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FEC78817-CDCF-40A5-AE45-2B0624DCBD7F}"/>
              </a:ext>
            </a:extLst>
          </p:cNvPr>
          <p:cNvSpPr/>
          <p:nvPr/>
        </p:nvSpPr>
        <p:spPr>
          <a:xfrm>
            <a:off x="9024663" y="3724342"/>
            <a:ext cx="143944" cy="14394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C</a:t>
            </a: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828FB2F0-32B8-4A87-AEAD-07EC716DFFA1}"/>
              </a:ext>
            </a:extLst>
          </p:cNvPr>
          <p:cNvCxnSpPr>
            <a:stCxn id="67" idx="3"/>
            <a:endCxn id="73" idx="7"/>
          </p:cNvCxnSpPr>
          <p:nvPr/>
        </p:nvCxnSpPr>
        <p:spPr>
          <a:xfrm flipH="1">
            <a:off x="8855322" y="4511671"/>
            <a:ext cx="170345" cy="218015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6E801A91-07B7-4981-8F04-B70D898A3461}"/>
              </a:ext>
            </a:extLst>
          </p:cNvPr>
          <p:cNvCxnSpPr>
            <a:stCxn id="75" idx="2"/>
            <a:endCxn id="16" idx="6"/>
          </p:cNvCxnSpPr>
          <p:nvPr/>
        </p:nvCxnSpPr>
        <p:spPr>
          <a:xfrm flipH="1">
            <a:off x="8195641" y="3796314"/>
            <a:ext cx="721063" cy="344333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EAB2122D-7E34-481D-8B17-A54803B96B3C}"/>
              </a:ext>
            </a:extLst>
          </p:cNvPr>
          <p:cNvCxnSpPr>
            <a:stCxn id="75" idx="1"/>
            <a:endCxn id="22" idx="5"/>
          </p:cNvCxnSpPr>
          <p:nvPr/>
        </p:nvCxnSpPr>
        <p:spPr>
          <a:xfrm flipH="1" flipV="1">
            <a:off x="8494737" y="3148717"/>
            <a:ext cx="474668" cy="520367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EE218398-E907-4018-9004-F7F7E70BE6D3}"/>
              </a:ext>
            </a:extLst>
          </p:cNvPr>
          <p:cNvCxnSpPr>
            <a:stCxn id="75" idx="3"/>
            <a:endCxn id="73" idx="0"/>
          </p:cNvCxnSpPr>
          <p:nvPr/>
        </p:nvCxnSpPr>
        <p:spPr>
          <a:xfrm flipH="1">
            <a:off x="8728092" y="3923543"/>
            <a:ext cx="241313" cy="753443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B46CB78F-7FAF-4EBB-B9F0-D6EEF3D06F2D}"/>
              </a:ext>
            </a:extLst>
          </p:cNvPr>
          <p:cNvCxnSpPr>
            <a:stCxn id="16" idx="5"/>
            <a:endCxn id="73" idx="1"/>
          </p:cNvCxnSpPr>
          <p:nvPr/>
        </p:nvCxnSpPr>
        <p:spPr>
          <a:xfrm>
            <a:off x="8142941" y="4267877"/>
            <a:ext cx="457921" cy="46181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10414820-663F-4760-9102-99E26B313AA6}"/>
              </a:ext>
            </a:extLst>
          </p:cNvPr>
          <p:cNvCxnSpPr>
            <a:stCxn id="13" idx="6"/>
            <a:endCxn id="73" idx="2"/>
          </p:cNvCxnSpPr>
          <p:nvPr/>
        </p:nvCxnSpPr>
        <p:spPr>
          <a:xfrm>
            <a:off x="7585722" y="4610724"/>
            <a:ext cx="962440" cy="246192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86C7D75B-00DF-4E84-A4D7-3568AC04DB04}"/>
              </a:ext>
            </a:extLst>
          </p:cNvPr>
          <p:cNvCxnSpPr>
            <a:stCxn id="40" idx="2"/>
            <a:endCxn id="73" idx="6"/>
          </p:cNvCxnSpPr>
          <p:nvPr/>
        </p:nvCxnSpPr>
        <p:spPr>
          <a:xfrm flipH="1">
            <a:off x="8908022" y="4459515"/>
            <a:ext cx="1561720" cy="397401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04CFE8E8-A8C9-4687-8EC9-7C31195336B6}"/>
              </a:ext>
            </a:extLst>
          </p:cNvPr>
          <p:cNvCxnSpPr>
            <a:stCxn id="73" idx="6"/>
            <a:endCxn id="71" idx="2"/>
          </p:cNvCxnSpPr>
          <p:nvPr/>
        </p:nvCxnSpPr>
        <p:spPr>
          <a:xfrm>
            <a:off x="8908022" y="4856916"/>
            <a:ext cx="558905" cy="282408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AFB0BE5B-76F2-4902-A77F-5A9B7CFFBBBB}"/>
              </a:ext>
            </a:extLst>
          </p:cNvPr>
          <p:cNvCxnSpPr>
            <a:stCxn id="71" idx="7"/>
            <a:endCxn id="40" idx="2"/>
          </p:cNvCxnSpPr>
          <p:nvPr/>
        </p:nvCxnSpPr>
        <p:spPr>
          <a:xfrm flipV="1">
            <a:off x="9774087" y="4459515"/>
            <a:ext cx="695655" cy="55257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1314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C043F332-D27C-41DD-8B13-1A3FD51E8F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00048"/>
            <a:ext cx="6794500" cy="4457904"/>
          </a:xfrm>
          <a:prstGeom prst="rect">
            <a:avLst/>
          </a:prstGeom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6B0F9C2-DD14-4DB2-A5E3-58EA8A7B49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2810061"/>
            <a:ext cx="5916612" cy="1237877"/>
          </a:xfrm>
        </p:spPr>
        <p:txBody>
          <a:bodyPr/>
          <a:lstStyle/>
          <a:p>
            <a:r>
              <a:rPr lang="de-DE" dirty="0" err="1"/>
              <a:t>Eclipse</a:t>
            </a:r>
            <a:r>
              <a:rPr lang="de-DE" dirty="0"/>
              <a:t> Dataspace Connector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11D356B-5480-466E-B5BA-337D0E93312C}"/>
              </a:ext>
            </a:extLst>
          </p:cNvPr>
          <p:cNvSpPr/>
          <p:nvPr/>
        </p:nvSpPr>
        <p:spPr>
          <a:xfrm>
            <a:off x="0" y="6031684"/>
            <a:ext cx="12192000" cy="20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839A4F6-C7DD-4C40-A233-8E4563829E3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3D96D1-3615-4B2F-BA62-1BBFA7C251C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6BA73E-08D7-491C-8DDC-8621CA0D512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692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Quick Facts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7AAF16CB-9D02-4738-A035-6F61A78EF6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A61EA24-9B46-46D0-97E2-F3176AC019DF}"/>
              </a:ext>
            </a:extLst>
          </p:cNvPr>
          <p:cNvSpPr txBox="1">
            <a:spLocks/>
          </p:cNvSpPr>
          <p:nvPr/>
        </p:nvSpPr>
        <p:spPr bwMode="gray">
          <a:xfrm>
            <a:off x="0" y="1700213"/>
            <a:ext cx="3000375" cy="4284662"/>
          </a:xfrm>
          <a:prstGeom prst="rect">
            <a:avLst/>
          </a:prstGeom>
          <a:gradFill flip="none" rotWithShape="1">
            <a:gsLst>
              <a:gs pos="34000">
                <a:srgbClr val="00779A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 anchor="ctr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dirty="0" err="1">
                <a:latin typeface="+mn-lt"/>
              </a:rPr>
              <a:t>Eclipse</a:t>
            </a:r>
            <a:endParaRPr lang="de-DE" sz="3200" dirty="0">
              <a:latin typeface="+mn-lt"/>
            </a:endParaRPr>
          </a:p>
          <a:p>
            <a:endParaRPr lang="de-DE" sz="3200" dirty="0">
              <a:latin typeface="+mn-lt"/>
            </a:endParaRPr>
          </a:p>
          <a:p>
            <a:r>
              <a:rPr lang="de-DE" sz="3200" dirty="0">
                <a:latin typeface="+mn-lt"/>
              </a:rPr>
              <a:t>Dataspace </a:t>
            </a:r>
          </a:p>
          <a:p>
            <a:endParaRPr lang="de-DE" sz="3200" dirty="0">
              <a:latin typeface="+mn-lt"/>
            </a:endParaRPr>
          </a:p>
          <a:p>
            <a:r>
              <a:rPr lang="de-DE" sz="3200" dirty="0">
                <a:latin typeface="+mn-lt"/>
              </a:rPr>
              <a:t>Connector</a:t>
            </a:r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1DD7231B-2E6E-41F3-AC7C-C26F80DDB5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C8976F-0B31-4BD7-86FA-062EAB3A5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BA3E71C5-75A0-43F2-9026-FA0D58B168E9}"/>
              </a:ext>
            </a:extLst>
          </p:cNvPr>
          <p:cNvSpPr>
            <a:spLocks/>
          </p:cNvSpPr>
          <p:nvPr/>
        </p:nvSpPr>
        <p:spPr bwMode="gray">
          <a:xfrm>
            <a:off x="3741495" y="1700213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r>
              <a:rPr lang="de-DE" dirty="0"/>
              <a:t>Open Source</a:t>
            </a:r>
          </a:p>
          <a:p>
            <a:r>
              <a:rPr lang="de-DE" sz="1400" dirty="0" err="1"/>
              <a:t>started</a:t>
            </a:r>
            <a:r>
              <a:rPr lang="de-DE" sz="1400" dirty="0"/>
              <a:t> in June 2021 ‧ </a:t>
            </a:r>
            <a:r>
              <a:rPr lang="de-DE" sz="1400" dirty="0" err="1"/>
              <a:t>official</a:t>
            </a:r>
            <a:r>
              <a:rPr lang="de-DE" sz="1400" dirty="0"/>
              <a:t> </a:t>
            </a:r>
            <a:r>
              <a:rPr lang="de-DE" sz="1400" dirty="0" err="1"/>
              <a:t>Eclipse</a:t>
            </a:r>
            <a:r>
              <a:rPr lang="de-DE" sz="1400" dirty="0"/>
              <a:t> </a:t>
            </a:r>
            <a:r>
              <a:rPr lang="de-DE" sz="1400" dirty="0" err="1"/>
              <a:t>Foundation</a:t>
            </a:r>
            <a:r>
              <a:rPr lang="de-DE" sz="1400" dirty="0"/>
              <a:t> </a:t>
            </a:r>
            <a:r>
              <a:rPr lang="de-DE" sz="1400" dirty="0" err="1"/>
              <a:t>project</a:t>
            </a:r>
            <a:r>
              <a:rPr lang="de-DE" sz="1400" dirty="0"/>
              <a:t> ‧ Apache 2.0 Licens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6CCF7A2-701B-48B0-BA49-3E9603319113}"/>
              </a:ext>
            </a:extLst>
          </p:cNvPr>
          <p:cNvSpPr>
            <a:spLocks/>
          </p:cNvSpPr>
          <p:nvPr/>
        </p:nvSpPr>
        <p:spPr bwMode="gray">
          <a:xfrm>
            <a:off x="3741495" y="2602911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de-DE" dirty="0"/>
              <a:t>Community</a:t>
            </a:r>
          </a:p>
          <a:p>
            <a:pPr>
              <a:defRPr/>
            </a:pPr>
            <a:r>
              <a:rPr lang="de-DE" sz="1400" dirty="0"/>
              <a:t>12 </a:t>
            </a:r>
            <a:r>
              <a:rPr lang="de-DE" sz="1400" dirty="0" err="1"/>
              <a:t>committers</a:t>
            </a:r>
            <a:r>
              <a:rPr lang="de-DE" sz="1400" dirty="0"/>
              <a:t> ‧ 20+ </a:t>
            </a:r>
            <a:r>
              <a:rPr lang="de-DE" sz="1400" dirty="0" err="1"/>
              <a:t>contributors</a:t>
            </a:r>
            <a:r>
              <a:rPr lang="de-DE" sz="1400" dirty="0"/>
              <a:t> ‧ &gt;600 pull </a:t>
            </a:r>
            <a:r>
              <a:rPr lang="de-DE" sz="1400" dirty="0" err="1"/>
              <a:t>requests</a:t>
            </a:r>
            <a:endParaRPr lang="en-GB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07D20D9-DBA1-45CA-ADB0-05DF9734607B}"/>
              </a:ext>
            </a:extLst>
          </p:cNvPr>
          <p:cNvSpPr>
            <a:spLocks/>
          </p:cNvSpPr>
          <p:nvPr/>
        </p:nvSpPr>
        <p:spPr bwMode="gray">
          <a:xfrm>
            <a:off x="3741495" y="3505609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echnolo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 err="1"/>
              <a:t>based</a:t>
            </a:r>
            <a:r>
              <a:rPr lang="de-DE" sz="1400" dirty="0"/>
              <a:t> on Java ‧ extensible </a:t>
            </a:r>
            <a:r>
              <a:rPr lang="de-DE" sz="1400" dirty="0" err="1"/>
              <a:t>architecture</a:t>
            </a:r>
            <a:r>
              <a:rPr lang="de-DE" sz="1400" dirty="0"/>
              <a:t> 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34DD385-DA00-49F9-947C-E99C02F1EA42}"/>
              </a:ext>
            </a:extLst>
          </p:cNvPr>
          <p:cNvSpPr>
            <a:spLocks/>
          </p:cNvSpPr>
          <p:nvPr/>
        </p:nvSpPr>
        <p:spPr bwMode="gray">
          <a:xfrm>
            <a:off x="3741493" y="4408307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Enterprise-</a:t>
            </a:r>
            <a:r>
              <a:rPr lang="de-DE" dirty="0" err="1"/>
              <a:t>ready</a:t>
            </a: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 err="1"/>
              <a:t>scalable</a:t>
            </a:r>
            <a:r>
              <a:rPr lang="de-DE" sz="1400" dirty="0"/>
              <a:t> ‧ </a:t>
            </a:r>
            <a:r>
              <a:rPr lang="de-DE" sz="1400" dirty="0" err="1"/>
              <a:t>higly</a:t>
            </a:r>
            <a:r>
              <a:rPr lang="de-DE" sz="1400" dirty="0"/>
              <a:t> </a:t>
            </a:r>
            <a:r>
              <a:rPr lang="de-DE" sz="1400" dirty="0" err="1"/>
              <a:t>available</a:t>
            </a:r>
            <a:r>
              <a:rPr lang="de-DE" sz="1400" dirty="0"/>
              <a:t> ‧ </a:t>
            </a:r>
            <a:r>
              <a:rPr lang="de-DE" sz="1400" dirty="0" err="1"/>
              <a:t>customizable</a:t>
            </a:r>
            <a:endParaRPr lang="de-DE" sz="1400" dirty="0"/>
          </a:p>
        </p:txBody>
      </p:sp>
      <p:sp>
        <p:nvSpPr>
          <p:cNvPr id="29" name="Gleichschenkliges Dreieck 28">
            <a:extLst>
              <a:ext uri="{FF2B5EF4-FFF2-40B4-BE49-F238E27FC236}">
                <a16:creationId xmlns:a16="http://schemas.microsoft.com/office/drawing/2014/main" id="{5B2A8623-12D4-4494-AD8B-4342E6785A8A}"/>
              </a:ext>
            </a:extLst>
          </p:cNvPr>
          <p:cNvSpPr>
            <a:spLocks/>
          </p:cNvSpPr>
          <p:nvPr/>
        </p:nvSpPr>
        <p:spPr bwMode="gray">
          <a:xfrm rot="5400000">
            <a:off x="3317666" y="1778212"/>
            <a:ext cx="673871" cy="517878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30" name="Gleichschenkliges Dreieck 29">
            <a:extLst>
              <a:ext uri="{FF2B5EF4-FFF2-40B4-BE49-F238E27FC236}">
                <a16:creationId xmlns:a16="http://schemas.microsoft.com/office/drawing/2014/main" id="{6A7C38D0-D37C-46F2-B63B-73E4CC8FFE19}"/>
              </a:ext>
            </a:extLst>
          </p:cNvPr>
          <p:cNvSpPr>
            <a:spLocks/>
          </p:cNvSpPr>
          <p:nvPr/>
        </p:nvSpPr>
        <p:spPr bwMode="gray">
          <a:xfrm rot="5400000">
            <a:off x="3317667" y="2680906"/>
            <a:ext cx="673873" cy="517880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31" name="Gleichschenkliges Dreieck 30">
            <a:extLst>
              <a:ext uri="{FF2B5EF4-FFF2-40B4-BE49-F238E27FC236}">
                <a16:creationId xmlns:a16="http://schemas.microsoft.com/office/drawing/2014/main" id="{ABD57D27-400F-411F-A934-6434CD34C7A2}"/>
              </a:ext>
            </a:extLst>
          </p:cNvPr>
          <p:cNvSpPr>
            <a:spLocks/>
          </p:cNvSpPr>
          <p:nvPr/>
        </p:nvSpPr>
        <p:spPr bwMode="gray">
          <a:xfrm rot="5400000">
            <a:off x="3317667" y="3583606"/>
            <a:ext cx="673871" cy="517878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2" name="Gleichschenkliges Dreieck 31">
            <a:extLst>
              <a:ext uri="{FF2B5EF4-FFF2-40B4-BE49-F238E27FC236}">
                <a16:creationId xmlns:a16="http://schemas.microsoft.com/office/drawing/2014/main" id="{11E022EB-2E0C-41E2-B643-3BA293175CAB}"/>
              </a:ext>
            </a:extLst>
          </p:cNvPr>
          <p:cNvSpPr>
            <a:spLocks/>
          </p:cNvSpPr>
          <p:nvPr/>
        </p:nvSpPr>
        <p:spPr bwMode="gray">
          <a:xfrm rot="5400000">
            <a:off x="3317667" y="4486303"/>
            <a:ext cx="673872" cy="517879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D4BBEDE-E542-44B6-BF7F-BA30E1967E50}"/>
              </a:ext>
            </a:extLst>
          </p:cNvPr>
          <p:cNvSpPr>
            <a:spLocks/>
          </p:cNvSpPr>
          <p:nvPr/>
        </p:nvSpPr>
        <p:spPr bwMode="gray">
          <a:xfrm>
            <a:off x="3741493" y="5311003"/>
            <a:ext cx="7971080" cy="673871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Current</a:t>
            </a:r>
            <a:r>
              <a:rPr lang="de-DE" dirty="0"/>
              <a:t> St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 err="1"/>
              <a:t>runnable</a:t>
            </a:r>
            <a:r>
              <a:rPr lang="de-DE" sz="1400" dirty="0"/>
              <a:t> code ‧ </a:t>
            </a:r>
            <a:r>
              <a:rPr lang="de-DE" sz="1400" dirty="0" err="1"/>
              <a:t>basic</a:t>
            </a:r>
            <a:r>
              <a:rPr lang="de-DE" sz="1400" dirty="0"/>
              <a:t> end </a:t>
            </a:r>
            <a:r>
              <a:rPr lang="de-DE" sz="1400" dirty="0" err="1"/>
              <a:t>to</a:t>
            </a:r>
            <a:r>
              <a:rPr lang="de-DE" sz="1400" dirty="0"/>
              <a:t> end </a:t>
            </a:r>
            <a:r>
              <a:rPr lang="de-DE" sz="1400" dirty="0" err="1"/>
              <a:t>samples</a:t>
            </a:r>
            <a:endParaRPr lang="de-DE" sz="1400" dirty="0"/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4988D0D2-B95B-45B4-A8C4-A369760D23C3}"/>
              </a:ext>
            </a:extLst>
          </p:cNvPr>
          <p:cNvSpPr>
            <a:spLocks/>
          </p:cNvSpPr>
          <p:nvPr/>
        </p:nvSpPr>
        <p:spPr bwMode="gray">
          <a:xfrm rot="5400000">
            <a:off x="3317664" y="5389000"/>
            <a:ext cx="673872" cy="517879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FDB41220-2139-4F12-8677-B3200BA4BE3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429" y="395588"/>
            <a:ext cx="669919" cy="87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394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 err="1"/>
              <a:t>Contributors</a:t>
            </a:r>
            <a:r>
              <a:rPr lang="de-DE" dirty="0"/>
              <a:t>, </a:t>
            </a:r>
            <a:r>
              <a:rPr lang="de-DE" dirty="0" err="1"/>
              <a:t>Committers</a:t>
            </a:r>
            <a:r>
              <a:rPr lang="de-DE" dirty="0"/>
              <a:t> &amp; Partner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0CCF0D-0D16-4045-A5F7-411AC73F3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BE1CDBA-3B98-4EEE-ABC2-CBB60EDE3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4" name="Grafik 73">
            <a:extLst>
              <a:ext uri="{FF2B5EF4-FFF2-40B4-BE49-F238E27FC236}">
                <a16:creationId xmlns:a16="http://schemas.microsoft.com/office/drawing/2014/main" id="{1DC67890-0E55-4BCB-B34F-C8A95473C8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614" y="4133252"/>
            <a:ext cx="2414952" cy="759131"/>
          </a:xfrm>
          <a:prstGeom prst="rect">
            <a:avLst/>
          </a:prstGeom>
        </p:spPr>
      </p:pic>
      <p:pic>
        <p:nvPicPr>
          <p:cNvPr id="75" name="Picture 7">
            <a:extLst>
              <a:ext uri="{FF2B5EF4-FFF2-40B4-BE49-F238E27FC236}">
                <a16:creationId xmlns:a16="http://schemas.microsoft.com/office/drawing/2014/main" id="{3B4A9D30-7CBF-49C7-BB7A-40DCD3BE3B3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7854" y="3271950"/>
            <a:ext cx="1037146" cy="508880"/>
          </a:xfrm>
          <a:prstGeom prst="rect">
            <a:avLst/>
          </a:prstGeom>
        </p:spPr>
      </p:pic>
      <p:pic>
        <p:nvPicPr>
          <p:cNvPr id="76" name="Picture 8">
            <a:extLst>
              <a:ext uri="{FF2B5EF4-FFF2-40B4-BE49-F238E27FC236}">
                <a16:creationId xmlns:a16="http://schemas.microsoft.com/office/drawing/2014/main" id="{26D8182D-9046-46F7-9C52-A8DAEC08DC3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048" y="2421237"/>
            <a:ext cx="670237" cy="659862"/>
          </a:xfrm>
          <a:prstGeom prst="rect">
            <a:avLst/>
          </a:prstGeom>
        </p:spPr>
      </p:pic>
      <p:pic>
        <p:nvPicPr>
          <p:cNvPr id="78" name="Picture 10">
            <a:extLst>
              <a:ext uri="{FF2B5EF4-FFF2-40B4-BE49-F238E27FC236}">
                <a16:creationId xmlns:a16="http://schemas.microsoft.com/office/drawing/2014/main" id="{365CD3A8-E09E-483B-B6A5-136E346393A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3779" y="1901454"/>
            <a:ext cx="794386" cy="503684"/>
          </a:xfrm>
          <a:prstGeom prst="rect">
            <a:avLst/>
          </a:prstGeom>
        </p:spPr>
      </p:pic>
      <p:pic>
        <p:nvPicPr>
          <p:cNvPr id="79" name="Picture 11">
            <a:extLst>
              <a:ext uri="{FF2B5EF4-FFF2-40B4-BE49-F238E27FC236}">
                <a16:creationId xmlns:a16="http://schemas.microsoft.com/office/drawing/2014/main" id="{4D9919AA-C8C3-4E80-814E-1DAC0895F4B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8406" y="2751168"/>
            <a:ext cx="670236" cy="682740"/>
          </a:xfrm>
          <a:prstGeom prst="rect">
            <a:avLst/>
          </a:prstGeom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D39D7BF5-2DD6-43FA-B74B-FE40F2B2F9A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792" b="26657"/>
          <a:stretch/>
        </p:blipFill>
        <p:spPr>
          <a:xfrm>
            <a:off x="3849217" y="3596949"/>
            <a:ext cx="2140522" cy="508881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19628ADD-E1B8-40BE-A0C3-5812C4F8FAD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9478" y="4969180"/>
            <a:ext cx="1657491" cy="240896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5B71D8CC-4C2D-4D99-836B-65AF4B6C45B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07" t="35294" r="7351" b="35428"/>
          <a:stretch/>
        </p:blipFill>
        <p:spPr>
          <a:xfrm>
            <a:off x="7924647" y="4350889"/>
            <a:ext cx="1782017" cy="405669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CF47547A-4CB9-4833-B2C9-D68CE08853AA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929" y="2080335"/>
            <a:ext cx="1545956" cy="86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126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199" y="395588"/>
            <a:ext cx="11233150" cy="382733"/>
          </a:xfrm>
        </p:spPr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Principle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0CCF0D-0D16-4045-A5F7-411AC73F3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C16CAA7-2D1E-4830-80E5-81BF047C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10" name="Diagram 23">
            <a:extLst>
              <a:ext uri="{FF2B5EF4-FFF2-40B4-BE49-F238E27FC236}">
                <a16:creationId xmlns:a16="http://schemas.microsoft.com/office/drawing/2014/main" id="{D338F254-C81E-4C69-99B7-5247686112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325632"/>
              </p:ext>
            </p:extLst>
          </p:nvPr>
        </p:nvGraphicFramePr>
        <p:xfrm>
          <a:off x="651090" y="1497725"/>
          <a:ext cx="5444910" cy="4334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 23">
            <a:extLst>
              <a:ext uri="{FF2B5EF4-FFF2-40B4-BE49-F238E27FC236}">
                <a16:creationId xmlns:a16="http://schemas.microsoft.com/office/drawing/2014/main" id="{23005958-C551-4F4D-AA0F-74409019B6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9201512"/>
              </p:ext>
            </p:extLst>
          </p:nvPr>
        </p:nvGraphicFramePr>
        <p:xfrm>
          <a:off x="5422788" y="1497725"/>
          <a:ext cx="5444910" cy="4334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87667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ical </a:t>
            </a:r>
            <a:r>
              <a:rPr lang="de-DE" dirty="0" err="1"/>
              <a:t>Capabilitie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0CCF0D-0D16-4045-A5F7-411AC73F3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C16CAA7-2D1E-4830-80E5-81BF047C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1B265D3A-E08A-4CDD-B7D1-16E460E01C95}"/>
              </a:ext>
            </a:extLst>
          </p:cNvPr>
          <p:cNvSpPr/>
          <p:nvPr/>
        </p:nvSpPr>
        <p:spPr>
          <a:xfrm>
            <a:off x="2126994" y="2359137"/>
            <a:ext cx="2091410" cy="2091410"/>
          </a:xfrm>
          <a:prstGeom prst="ellipse">
            <a:avLst/>
          </a:prstGeom>
          <a:noFill/>
          <a:ln w="76200">
            <a:solidFill>
              <a:srgbClr val="E5EEF2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6342947E-1CD3-4197-9E80-06CD2FAB5A0C}"/>
              </a:ext>
            </a:extLst>
          </p:cNvPr>
          <p:cNvSpPr/>
          <p:nvPr/>
        </p:nvSpPr>
        <p:spPr>
          <a:xfrm>
            <a:off x="2308997" y="2541140"/>
            <a:ext cx="1744182" cy="1744182"/>
          </a:xfrm>
          <a:prstGeom prst="ellipse">
            <a:avLst/>
          </a:prstGeom>
          <a:noFill/>
          <a:ln w="76200">
            <a:solidFill>
              <a:srgbClr val="A6A6A6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13" name="Grafik 12" descr="Datenbank mit einfarbiger Füllung">
            <a:extLst>
              <a:ext uri="{FF2B5EF4-FFF2-40B4-BE49-F238E27FC236}">
                <a16:creationId xmlns:a16="http://schemas.microsoft.com/office/drawing/2014/main" id="{75575A02-3C40-4E94-B06C-9C7B98457B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5499" y="5088400"/>
            <a:ext cx="914400" cy="914400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E276F4A0-ECCF-469E-8F6F-A7F292553F7C}"/>
              </a:ext>
            </a:extLst>
          </p:cNvPr>
          <p:cNvSpPr txBox="1"/>
          <p:nvPr/>
        </p:nvSpPr>
        <p:spPr>
          <a:xfrm>
            <a:off x="1454146" y="5299164"/>
            <a:ext cx="1261353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Data </a:t>
            </a:r>
          </a:p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Source/Sink</a:t>
            </a:r>
            <a:endParaRPr lang="en-GB" sz="1400" dirty="0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12B17110-907E-42B5-B931-59B09168EBA5}"/>
              </a:ext>
            </a:extLst>
          </p:cNvPr>
          <p:cNvSpPr/>
          <p:nvPr/>
        </p:nvSpPr>
        <p:spPr>
          <a:xfrm>
            <a:off x="7973596" y="2359137"/>
            <a:ext cx="2091410" cy="2091410"/>
          </a:xfrm>
          <a:prstGeom prst="ellipse">
            <a:avLst/>
          </a:prstGeom>
          <a:noFill/>
          <a:ln w="76200">
            <a:solidFill>
              <a:srgbClr val="E5EEF2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E30F8C74-0900-407B-9E64-C7E7D350E332}"/>
              </a:ext>
            </a:extLst>
          </p:cNvPr>
          <p:cNvSpPr/>
          <p:nvPr/>
        </p:nvSpPr>
        <p:spPr>
          <a:xfrm>
            <a:off x="8155599" y="2541140"/>
            <a:ext cx="1744182" cy="1744182"/>
          </a:xfrm>
          <a:prstGeom prst="ellipse">
            <a:avLst/>
          </a:prstGeom>
          <a:noFill/>
          <a:ln w="76200">
            <a:solidFill>
              <a:srgbClr val="A6A6A6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44" name="Grafik 43" descr="Datenbank mit einfarbiger Füllung">
            <a:extLst>
              <a:ext uri="{FF2B5EF4-FFF2-40B4-BE49-F238E27FC236}">
                <a16:creationId xmlns:a16="http://schemas.microsoft.com/office/drawing/2014/main" id="{B820990C-34D1-4B73-B5CF-DFA477ADB4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62101" y="5088400"/>
            <a:ext cx="914400" cy="914400"/>
          </a:xfrm>
          <a:prstGeom prst="rect">
            <a:avLst/>
          </a:prstGeom>
        </p:spPr>
      </p:pic>
      <p:sp>
        <p:nvSpPr>
          <p:cNvPr id="46" name="Textfeld 45">
            <a:extLst>
              <a:ext uri="{FF2B5EF4-FFF2-40B4-BE49-F238E27FC236}">
                <a16:creationId xmlns:a16="http://schemas.microsoft.com/office/drawing/2014/main" id="{CB94246C-156B-4E79-9443-2C05B851109B}"/>
              </a:ext>
            </a:extLst>
          </p:cNvPr>
          <p:cNvSpPr txBox="1"/>
          <p:nvPr/>
        </p:nvSpPr>
        <p:spPr>
          <a:xfrm>
            <a:off x="9476501" y="5299164"/>
            <a:ext cx="1261353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Data </a:t>
            </a:r>
          </a:p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Source/Sink</a:t>
            </a:r>
            <a:endParaRPr lang="en-GB" sz="1400" dirty="0"/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F19EB003-4356-47A6-9DDF-E1E5EF0D3997}"/>
              </a:ext>
            </a:extLst>
          </p:cNvPr>
          <p:cNvCxnSpPr>
            <a:stCxn id="13" idx="3"/>
            <a:endCxn id="44" idx="1"/>
          </p:cNvCxnSpPr>
          <p:nvPr/>
        </p:nvCxnSpPr>
        <p:spPr>
          <a:xfrm>
            <a:off x="3629899" y="5545600"/>
            <a:ext cx="4932202" cy="0"/>
          </a:xfrm>
          <a:prstGeom prst="line">
            <a:avLst/>
          </a:prstGeom>
          <a:ln w="15875"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D5BC48B3-A408-4285-8904-1E0A96D894DF}"/>
              </a:ext>
            </a:extLst>
          </p:cNvPr>
          <p:cNvCxnSpPr>
            <a:cxnSpLocks/>
            <a:stCxn id="12" idx="5"/>
          </p:cNvCxnSpPr>
          <p:nvPr/>
        </p:nvCxnSpPr>
        <p:spPr>
          <a:xfrm>
            <a:off x="3693599" y="3922072"/>
            <a:ext cx="928700" cy="112252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4FD5768A-8C63-4554-9A82-38571E82EEFE}"/>
              </a:ext>
            </a:extLst>
          </p:cNvPr>
          <p:cNvSpPr txBox="1"/>
          <p:nvPr/>
        </p:nvSpPr>
        <p:spPr>
          <a:xfrm>
            <a:off x="4055005" y="5180093"/>
            <a:ext cx="1261353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Data Transfer</a:t>
            </a:r>
            <a:endParaRPr lang="en-GB" sz="1400" b="1" dirty="0"/>
          </a:p>
        </p:txBody>
      </p:sp>
      <p:pic>
        <p:nvPicPr>
          <p:cNvPr id="55" name="Grafik 54" descr="Zahnrad mit einfarbiger Füllung">
            <a:extLst>
              <a:ext uri="{FF2B5EF4-FFF2-40B4-BE49-F238E27FC236}">
                <a16:creationId xmlns:a16="http://schemas.microsoft.com/office/drawing/2014/main" id="{B84A3C93-B439-424D-8E55-413136A803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77517" y="1543106"/>
            <a:ext cx="914400" cy="914400"/>
          </a:xfrm>
          <a:prstGeom prst="rect">
            <a:avLst/>
          </a:prstGeom>
        </p:spPr>
      </p:pic>
      <p:sp>
        <p:nvSpPr>
          <p:cNvPr id="57" name="Textfeld 56">
            <a:extLst>
              <a:ext uri="{FF2B5EF4-FFF2-40B4-BE49-F238E27FC236}">
                <a16:creationId xmlns:a16="http://schemas.microsoft.com/office/drawing/2014/main" id="{9B0DBCF7-E8C4-4075-9900-4C8B283B3E0B}"/>
              </a:ext>
            </a:extLst>
          </p:cNvPr>
          <p:cNvSpPr txBox="1"/>
          <p:nvPr/>
        </p:nvSpPr>
        <p:spPr>
          <a:xfrm>
            <a:off x="10307728" y="2457506"/>
            <a:ext cx="1453977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 err="1"/>
              <a:t>Configuration</a:t>
            </a:r>
            <a:endParaRPr lang="en-GB" sz="1400" b="1" dirty="0"/>
          </a:p>
        </p:txBody>
      </p: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90FF19F8-1EBC-4A90-82F1-7257DED3DECB}"/>
              </a:ext>
            </a:extLst>
          </p:cNvPr>
          <p:cNvCxnSpPr>
            <a:cxnSpLocks/>
            <a:endCxn id="57" idx="1"/>
          </p:cNvCxnSpPr>
          <p:nvPr/>
        </p:nvCxnSpPr>
        <p:spPr>
          <a:xfrm flipV="1">
            <a:off x="9613727" y="2576577"/>
            <a:ext cx="694001" cy="44992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Grafik 67" descr="Herz, pulsierend mit einfarbiger Füllung">
            <a:extLst>
              <a:ext uri="{FF2B5EF4-FFF2-40B4-BE49-F238E27FC236}">
                <a16:creationId xmlns:a16="http://schemas.microsoft.com/office/drawing/2014/main" id="{3C043C26-8066-4DF2-9160-D4AAAAE48D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0083" y="1543106"/>
            <a:ext cx="914400" cy="914400"/>
          </a:xfrm>
          <a:prstGeom prst="rect">
            <a:avLst/>
          </a:prstGeom>
        </p:spPr>
      </p:pic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0FD748C4-C45E-4766-8BF2-EC1A1AD4753C}"/>
              </a:ext>
            </a:extLst>
          </p:cNvPr>
          <p:cNvCxnSpPr>
            <a:cxnSpLocks/>
            <a:endCxn id="72" idx="3"/>
          </p:cNvCxnSpPr>
          <p:nvPr/>
        </p:nvCxnSpPr>
        <p:spPr>
          <a:xfrm flipH="1" flipV="1">
            <a:off x="1783720" y="2522234"/>
            <a:ext cx="850821" cy="52412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6C091A4E-B97E-4192-A5E9-B20CC7BB72F0}"/>
              </a:ext>
            </a:extLst>
          </p:cNvPr>
          <p:cNvSpPr txBox="1"/>
          <p:nvPr/>
        </p:nvSpPr>
        <p:spPr>
          <a:xfrm>
            <a:off x="522367" y="2403163"/>
            <a:ext cx="1261353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Monitoring</a:t>
            </a:r>
            <a:endParaRPr lang="en-GB" sz="1400" b="1" dirty="0"/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F889BB9E-FE95-4CEB-8A2A-04373AC5DEF3}"/>
              </a:ext>
            </a:extLst>
          </p:cNvPr>
          <p:cNvCxnSpPr>
            <a:cxnSpLocks/>
          </p:cNvCxnSpPr>
          <p:nvPr/>
        </p:nvCxnSpPr>
        <p:spPr>
          <a:xfrm>
            <a:off x="4218404" y="3648035"/>
            <a:ext cx="3755192" cy="0"/>
          </a:xfrm>
          <a:prstGeom prst="line">
            <a:avLst/>
          </a:prstGeom>
          <a:ln w="15875"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52D19622-B392-47C0-8BA3-35C8FAE4B0CE}"/>
              </a:ext>
            </a:extLst>
          </p:cNvPr>
          <p:cNvSpPr txBox="1"/>
          <p:nvPr/>
        </p:nvSpPr>
        <p:spPr>
          <a:xfrm>
            <a:off x="5265564" y="3294288"/>
            <a:ext cx="1402794" cy="23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 err="1"/>
              <a:t>Cataloging</a:t>
            </a:r>
            <a:r>
              <a:rPr lang="de-DE" sz="1400" b="1" dirty="0"/>
              <a:t>*</a:t>
            </a: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8DF30DE5-2F8F-4DA1-BB12-02834D1A1F75}"/>
              </a:ext>
            </a:extLst>
          </p:cNvPr>
          <p:cNvSpPr/>
          <p:nvPr/>
        </p:nvSpPr>
        <p:spPr>
          <a:xfrm>
            <a:off x="6577711" y="3872728"/>
            <a:ext cx="1339826" cy="1339826"/>
          </a:xfrm>
          <a:prstGeom prst="ellipse">
            <a:avLst/>
          </a:prstGeom>
          <a:solidFill>
            <a:srgbClr val="E5EEF2"/>
          </a:solidFill>
          <a:ln w="76200">
            <a:noFill/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Catalog</a:t>
            </a: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D56997F3-9D9C-40F5-AFF1-9731C6C0C830}"/>
              </a:ext>
            </a:extLst>
          </p:cNvPr>
          <p:cNvCxnSpPr>
            <a:cxnSpLocks/>
            <a:endCxn id="87" idx="2"/>
          </p:cNvCxnSpPr>
          <p:nvPr/>
        </p:nvCxnSpPr>
        <p:spPr>
          <a:xfrm>
            <a:off x="4182649" y="3775401"/>
            <a:ext cx="2395062" cy="767240"/>
          </a:xfrm>
          <a:prstGeom prst="line">
            <a:avLst/>
          </a:prstGeom>
          <a:ln w="15875"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20EEB9F7-F102-485B-B34E-08555277DE72}"/>
              </a:ext>
            </a:extLst>
          </p:cNvPr>
          <p:cNvCxnSpPr>
            <a:cxnSpLocks/>
            <a:stCxn id="12" idx="6"/>
            <a:endCxn id="82" idx="1"/>
          </p:cNvCxnSpPr>
          <p:nvPr/>
        </p:nvCxnSpPr>
        <p:spPr>
          <a:xfrm>
            <a:off x="3905888" y="3409561"/>
            <a:ext cx="1359676" cy="367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Ellipse 109">
            <a:extLst>
              <a:ext uri="{FF2B5EF4-FFF2-40B4-BE49-F238E27FC236}">
                <a16:creationId xmlns:a16="http://schemas.microsoft.com/office/drawing/2014/main" id="{6CF922A2-24CC-45AD-B9B4-73ED4C46FE5E}"/>
              </a:ext>
            </a:extLst>
          </p:cNvPr>
          <p:cNvSpPr/>
          <p:nvPr/>
        </p:nvSpPr>
        <p:spPr>
          <a:xfrm>
            <a:off x="5426087" y="1124623"/>
            <a:ext cx="1339826" cy="1339826"/>
          </a:xfrm>
          <a:prstGeom prst="ellipse">
            <a:avLst/>
          </a:prstGeom>
          <a:solidFill>
            <a:srgbClr val="E5EEF2"/>
          </a:solidFill>
          <a:ln w="76200">
            <a:noFill/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Identity Provider</a:t>
            </a: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EE0A79EF-2112-47C9-8C8A-A57C7A80A129}"/>
              </a:ext>
            </a:extLst>
          </p:cNvPr>
          <p:cNvCxnSpPr>
            <a:cxnSpLocks/>
          </p:cNvCxnSpPr>
          <p:nvPr/>
        </p:nvCxnSpPr>
        <p:spPr>
          <a:xfrm flipV="1">
            <a:off x="3912124" y="1795169"/>
            <a:ext cx="1513963" cy="870881"/>
          </a:xfrm>
          <a:prstGeom prst="line">
            <a:avLst/>
          </a:prstGeom>
          <a:ln w="15875"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6C640B8C-9772-4244-89B9-07904B10BB18}"/>
              </a:ext>
            </a:extLst>
          </p:cNvPr>
          <p:cNvCxnSpPr>
            <a:cxnSpLocks/>
          </p:cNvCxnSpPr>
          <p:nvPr/>
        </p:nvCxnSpPr>
        <p:spPr>
          <a:xfrm flipH="1" flipV="1">
            <a:off x="6765913" y="1795169"/>
            <a:ext cx="1513963" cy="870881"/>
          </a:xfrm>
          <a:prstGeom prst="line">
            <a:avLst/>
          </a:prstGeom>
          <a:ln w="15875"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feld 123">
            <a:extLst>
              <a:ext uri="{FF2B5EF4-FFF2-40B4-BE49-F238E27FC236}">
                <a16:creationId xmlns:a16="http://schemas.microsoft.com/office/drawing/2014/main" id="{D186011D-92D0-4E85-B99D-F73484FABC7E}"/>
              </a:ext>
            </a:extLst>
          </p:cNvPr>
          <p:cNvSpPr txBox="1"/>
          <p:nvPr/>
        </p:nvSpPr>
        <p:spPr>
          <a:xfrm>
            <a:off x="5023078" y="2559986"/>
            <a:ext cx="2188139" cy="23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Identity Management*</a:t>
            </a: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26DCE361-15B5-4A09-B8F1-32FCD81534BA}"/>
              </a:ext>
            </a:extLst>
          </p:cNvPr>
          <p:cNvCxnSpPr>
            <a:cxnSpLocks/>
            <a:endCxn id="124" idx="3"/>
          </p:cNvCxnSpPr>
          <p:nvPr/>
        </p:nvCxnSpPr>
        <p:spPr>
          <a:xfrm flipH="1" flipV="1">
            <a:off x="7211217" y="2678929"/>
            <a:ext cx="1256656" cy="5194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Grafik 147" descr="Papier Silhouette">
            <a:extLst>
              <a:ext uri="{FF2B5EF4-FFF2-40B4-BE49-F238E27FC236}">
                <a16:creationId xmlns:a16="http://schemas.microsoft.com/office/drawing/2014/main" id="{BCD00F1B-565B-4272-8BE5-36244CDBA0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02584" y="5153411"/>
            <a:ext cx="784378" cy="784378"/>
          </a:xfrm>
          <a:prstGeom prst="rect">
            <a:avLst/>
          </a:prstGeom>
        </p:spPr>
      </p:pic>
      <p:sp>
        <p:nvSpPr>
          <p:cNvPr id="150" name="Rechteck 149">
            <a:extLst>
              <a:ext uri="{FF2B5EF4-FFF2-40B4-BE49-F238E27FC236}">
                <a16:creationId xmlns:a16="http://schemas.microsoft.com/office/drawing/2014/main" id="{AF66707F-1247-419F-B8C7-58EBE6B1E6E2}"/>
              </a:ext>
            </a:extLst>
          </p:cNvPr>
          <p:cNvSpPr/>
          <p:nvPr/>
        </p:nvSpPr>
        <p:spPr>
          <a:xfrm>
            <a:off x="5866758" y="5418235"/>
            <a:ext cx="453079" cy="2585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242EA5E7-F4FE-4A11-950E-6C49A5B7032C}"/>
              </a:ext>
            </a:extLst>
          </p:cNvPr>
          <p:cNvSpPr txBox="1"/>
          <p:nvPr/>
        </p:nvSpPr>
        <p:spPr>
          <a:xfrm>
            <a:off x="5736628" y="5413607"/>
            <a:ext cx="718743" cy="228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100" dirty="0"/>
              <a:t>Data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FF970FF-8B07-4CBD-8D95-E7A2ED71CC11}"/>
              </a:ext>
            </a:extLst>
          </p:cNvPr>
          <p:cNvSpPr/>
          <p:nvPr/>
        </p:nvSpPr>
        <p:spPr>
          <a:xfrm>
            <a:off x="4765920" y="3578666"/>
            <a:ext cx="463631" cy="6194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165" name="Gerader Verbinder 164">
            <a:extLst>
              <a:ext uri="{FF2B5EF4-FFF2-40B4-BE49-F238E27FC236}">
                <a16:creationId xmlns:a16="http://schemas.microsoft.com/office/drawing/2014/main" id="{17F5704F-59F5-4DB2-94F7-2AB00A2BE961}"/>
              </a:ext>
            </a:extLst>
          </p:cNvPr>
          <p:cNvCxnSpPr>
            <a:cxnSpLocks/>
          </p:cNvCxnSpPr>
          <p:nvPr/>
        </p:nvCxnSpPr>
        <p:spPr>
          <a:xfrm flipH="1">
            <a:off x="1782843" y="3597379"/>
            <a:ext cx="778672" cy="30214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57E378E1-2C82-4E61-99BA-654A52867A09}"/>
              </a:ext>
            </a:extLst>
          </p:cNvPr>
          <p:cNvSpPr/>
          <p:nvPr/>
        </p:nvSpPr>
        <p:spPr>
          <a:xfrm>
            <a:off x="2456288" y="2684761"/>
            <a:ext cx="1449600" cy="1449600"/>
          </a:xfrm>
          <a:prstGeom prst="ellipse">
            <a:avLst/>
          </a:prstGeom>
          <a:solidFill>
            <a:srgbClr val="E5EEF2"/>
          </a:solidFill>
          <a:ln w="76200">
            <a:noFill/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Connector</a:t>
            </a: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AECA2DAD-05E3-4CFA-811D-CF67B9F527CB}"/>
              </a:ext>
            </a:extLst>
          </p:cNvPr>
          <p:cNvCxnSpPr>
            <a:cxnSpLocks/>
          </p:cNvCxnSpPr>
          <p:nvPr/>
        </p:nvCxnSpPr>
        <p:spPr>
          <a:xfrm>
            <a:off x="9646110" y="3560936"/>
            <a:ext cx="939060" cy="338591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Ellipse 42">
            <a:extLst>
              <a:ext uri="{FF2B5EF4-FFF2-40B4-BE49-F238E27FC236}">
                <a16:creationId xmlns:a16="http://schemas.microsoft.com/office/drawing/2014/main" id="{AB0853E1-BAF8-4D4F-B323-C1270561368F}"/>
              </a:ext>
            </a:extLst>
          </p:cNvPr>
          <p:cNvSpPr/>
          <p:nvPr/>
        </p:nvSpPr>
        <p:spPr>
          <a:xfrm>
            <a:off x="8299220" y="2684761"/>
            <a:ext cx="1449600" cy="1449600"/>
          </a:xfrm>
          <a:prstGeom prst="ellipse">
            <a:avLst/>
          </a:prstGeom>
          <a:solidFill>
            <a:srgbClr val="E5EEF2"/>
          </a:solidFill>
          <a:ln w="76200">
            <a:noFill/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Connector</a:t>
            </a: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>
            <a:extLst>
              <a:ext uri="{FF2B5EF4-FFF2-40B4-BE49-F238E27FC236}">
                <a16:creationId xmlns:a16="http://schemas.microsoft.com/office/drawing/2014/main" id="{A349BDA4-B907-40C6-8671-F8A839AF2ECD}"/>
              </a:ext>
            </a:extLst>
          </p:cNvPr>
          <p:cNvCxnSpPr>
            <a:stCxn id="12" idx="4"/>
            <a:endCxn id="13" idx="0"/>
          </p:cNvCxnSpPr>
          <p:nvPr/>
        </p:nvCxnSpPr>
        <p:spPr>
          <a:xfrm flipH="1">
            <a:off x="3172699" y="4134361"/>
            <a:ext cx="8389" cy="954039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995FFCA5-ACAF-480C-948F-78AB897ACCB9}"/>
              </a:ext>
            </a:extLst>
          </p:cNvPr>
          <p:cNvCxnSpPr>
            <a:stCxn id="43" idx="4"/>
            <a:endCxn id="44" idx="0"/>
          </p:cNvCxnSpPr>
          <p:nvPr/>
        </p:nvCxnSpPr>
        <p:spPr>
          <a:xfrm flipH="1">
            <a:off x="9019301" y="4134361"/>
            <a:ext cx="4719" cy="954039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9" name="Grafik 198" descr="Vertrag mit einfarbiger Füllung">
            <a:extLst>
              <a:ext uri="{FF2B5EF4-FFF2-40B4-BE49-F238E27FC236}">
                <a16:creationId xmlns:a16="http://schemas.microsoft.com/office/drawing/2014/main" id="{ABE9B37E-F500-4841-8B4B-4910E07DEE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8156" y="4238118"/>
            <a:ext cx="914400" cy="914400"/>
          </a:xfrm>
          <a:prstGeom prst="rect">
            <a:avLst/>
          </a:prstGeom>
        </p:spPr>
      </p:pic>
      <p:sp>
        <p:nvSpPr>
          <p:cNvPr id="200" name="Textfeld 199">
            <a:extLst>
              <a:ext uri="{FF2B5EF4-FFF2-40B4-BE49-F238E27FC236}">
                <a16:creationId xmlns:a16="http://schemas.microsoft.com/office/drawing/2014/main" id="{5A2BFD89-D707-4CB1-B897-0E41E72E1830}"/>
              </a:ext>
            </a:extLst>
          </p:cNvPr>
          <p:cNvSpPr txBox="1"/>
          <p:nvPr/>
        </p:nvSpPr>
        <p:spPr>
          <a:xfrm>
            <a:off x="522367" y="3649520"/>
            <a:ext cx="1261353" cy="4943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ts val="1960"/>
              </a:lnSpc>
              <a:buClr>
                <a:schemeClr val="accent1"/>
              </a:buClr>
              <a:defRPr sz="1400" b="1">
                <a:solidFill>
                  <a:srgbClr val="179C7D"/>
                </a:solidFill>
              </a:defRPr>
            </a:lvl1pPr>
          </a:lstStyle>
          <a:p>
            <a:r>
              <a:rPr lang="de-DE" dirty="0" err="1"/>
              <a:t>Contract</a:t>
            </a:r>
            <a:r>
              <a:rPr lang="de-DE" dirty="0"/>
              <a:t> Management</a:t>
            </a:r>
            <a:endParaRPr lang="en-GB" dirty="0"/>
          </a:p>
        </p:txBody>
      </p:sp>
      <p:pic>
        <p:nvPicPr>
          <p:cNvPr id="201" name="Grafik 200" descr="Schild Häkchen mit einfarbiger Füllung">
            <a:extLst>
              <a:ext uri="{FF2B5EF4-FFF2-40B4-BE49-F238E27FC236}">
                <a16:creationId xmlns:a16="http://schemas.microsoft.com/office/drawing/2014/main" id="{B3E735DA-74F7-46F7-B4DF-0F6C4B5F240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577517" y="4230687"/>
            <a:ext cx="914400" cy="914400"/>
          </a:xfrm>
          <a:prstGeom prst="rect">
            <a:avLst/>
          </a:prstGeom>
        </p:spPr>
      </p:pic>
      <p:sp>
        <p:nvSpPr>
          <p:cNvPr id="202" name="Textfeld 201">
            <a:extLst>
              <a:ext uri="{FF2B5EF4-FFF2-40B4-BE49-F238E27FC236}">
                <a16:creationId xmlns:a16="http://schemas.microsoft.com/office/drawing/2014/main" id="{0D53D331-8885-4880-9B51-91E10FF9EBAD}"/>
              </a:ext>
            </a:extLst>
          </p:cNvPr>
          <p:cNvSpPr txBox="1"/>
          <p:nvPr/>
        </p:nvSpPr>
        <p:spPr>
          <a:xfrm>
            <a:off x="10585170" y="3644913"/>
            <a:ext cx="864409" cy="4943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ts val="1960"/>
              </a:lnSpc>
              <a:buClr>
                <a:schemeClr val="accent1"/>
              </a:buClr>
              <a:defRPr sz="1400" b="1">
                <a:solidFill>
                  <a:srgbClr val="8BC440"/>
                </a:solidFill>
              </a:defRPr>
            </a:lvl1pPr>
          </a:lstStyle>
          <a:p>
            <a:r>
              <a:rPr lang="de-DE" dirty="0">
                <a:solidFill>
                  <a:srgbClr val="179C7D"/>
                </a:solidFill>
              </a:rPr>
              <a:t>Policy </a:t>
            </a:r>
          </a:p>
          <a:p>
            <a:r>
              <a:rPr lang="de-DE" dirty="0">
                <a:solidFill>
                  <a:srgbClr val="179C7D"/>
                </a:solidFill>
              </a:rPr>
              <a:t>Engine</a:t>
            </a:r>
            <a:endParaRPr lang="en-GB" dirty="0">
              <a:solidFill>
                <a:srgbClr val="179C7D"/>
              </a:solidFill>
            </a:endParaRP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18CE18BC-7EA6-4C8B-A8A2-8D4651C34424}"/>
              </a:ext>
            </a:extLst>
          </p:cNvPr>
          <p:cNvSpPr txBox="1"/>
          <p:nvPr/>
        </p:nvSpPr>
        <p:spPr>
          <a:xfrm>
            <a:off x="4647498" y="3929391"/>
            <a:ext cx="718743" cy="228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100" dirty="0">
                <a:solidFill>
                  <a:srgbClr val="179C7D"/>
                </a:solidFill>
              </a:rPr>
              <a:t>(Policy)</a:t>
            </a:r>
            <a:endParaRPr lang="en-GB" sz="1100" dirty="0">
              <a:solidFill>
                <a:srgbClr val="179C7D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3014D6A1-C65F-4C79-B21E-2F2191996847}"/>
              </a:ext>
            </a:extLst>
          </p:cNvPr>
          <p:cNvSpPr txBox="1"/>
          <p:nvPr/>
        </p:nvSpPr>
        <p:spPr>
          <a:xfrm>
            <a:off x="1454146" y="5298288"/>
            <a:ext cx="1261353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Data </a:t>
            </a:r>
          </a:p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Source/Sink</a:t>
            </a:r>
            <a:endParaRPr lang="en-GB" sz="1400" dirty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F7080D3F-9135-4F37-AC34-E86AD4551806}"/>
              </a:ext>
            </a:extLst>
          </p:cNvPr>
          <p:cNvSpPr txBox="1"/>
          <p:nvPr/>
        </p:nvSpPr>
        <p:spPr>
          <a:xfrm>
            <a:off x="8754134" y="6138954"/>
            <a:ext cx="2860087" cy="228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000" dirty="0"/>
              <a:t>*</a:t>
            </a:r>
            <a:r>
              <a:rPr lang="de-DE" sz="1000" dirty="0" err="1"/>
              <a:t>either</a:t>
            </a:r>
            <a:r>
              <a:rPr lang="de-DE" sz="1000" dirty="0"/>
              <a:t> </a:t>
            </a:r>
            <a:r>
              <a:rPr lang="de-DE" sz="1000" dirty="0" err="1"/>
              <a:t>centralized</a:t>
            </a:r>
            <a:r>
              <a:rPr lang="de-DE" sz="1000" dirty="0"/>
              <a:t> </a:t>
            </a:r>
            <a:r>
              <a:rPr lang="de-DE" sz="1000" dirty="0" err="1"/>
              <a:t>or</a:t>
            </a:r>
            <a:r>
              <a:rPr lang="de-DE" sz="1000" dirty="0"/>
              <a:t> </a:t>
            </a:r>
            <a:r>
              <a:rPr lang="de-DE" sz="1000" dirty="0" err="1"/>
              <a:t>decentralized</a:t>
            </a:r>
            <a:endParaRPr lang="en-GB" sz="10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5A63AC85-A333-4037-9D80-3833BDA475EA}"/>
              </a:ext>
            </a:extLst>
          </p:cNvPr>
          <p:cNvSpPr txBox="1"/>
          <p:nvPr/>
        </p:nvSpPr>
        <p:spPr>
          <a:xfrm>
            <a:off x="4634347" y="3711950"/>
            <a:ext cx="718743" cy="228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100" dirty="0" err="1"/>
              <a:t>Offer</a:t>
            </a:r>
            <a:endParaRPr lang="en-GB" sz="1100" dirty="0"/>
          </a:p>
        </p:txBody>
      </p:sp>
      <p:pic>
        <p:nvPicPr>
          <p:cNvPr id="151" name="Grafik 150" descr="Papier Silhouette">
            <a:extLst>
              <a:ext uri="{FF2B5EF4-FFF2-40B4-BE49-F238E27FC236}">
                <a16:creationId xmlns:a16="http://schemas.microsoft.com/office/drawing/2014/main" id="{D75F56DE-61EC-4EF6-9777-7B174E42B7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09916" y="3497274"/>
            <a:ext cx="784378" cy="78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163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46" grpId="0"/>
      <p:bldP spid="52" grpId="0"/>
      <p:bldP spid="57" grpId="0"/>
      <p:bldP spid="72" grpId="0"/>
      <p:bldP spid="82" grpId="0"/>
      <p:bldP spid="87" grpId="0" animBg="1"/>
      <p:bldP spid="110" grpId="0" animBg="1"/>
      <p:bldP spid="124" grpId="0"/>
      <p:bldP spid="150" grpId="0" animBg="1"/>
      <p:bldP spid="149" grpId="0"/>
      <p:bldP spid="152" grpId="0" animBg="1"/>
      <p:bldP spid="200" grpId="0"/>
      <p:bldP spid="202" grpId="0"/>
      <p:bldP spid="203" grpId="0"/>
      <p:bldP spid="56" grpId="0"/>
      <p:bldP spid="60" grpId="0"/>
      <p:bldP spid="6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F46E2-40F8-43C2-A28C-ABC23984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co-system Integr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07652-B06C-482C-B1C6-7BBDB206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23.05.2022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8B8F1A-7136-4720-84D8-CDF6BB89F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SS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00CCF0D-0D16-4045-A5F7-411AC73F37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C16CAA7-2D1E-4830-80E5-81BF047CD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D59304-162D-49DF-9867-6D19C6DA67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11233149" cy="255455"/>
          </a:xfrm>
        </p:spPr>
        <p:txBody>
          <a:bodyPr/>
          <a:lstStyle/>
          <a:p>
            <a:pPr lvl="4"/>
            <a:endParaRPr lang="en-GB" sz="1600" dirty="0">
              <a:sym typeface="Wingdings" panose="05000000000000000000" pitchFamily="2" charset="2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8B6BEB0-46B0-4A58-B565-B1F8516354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4913" y="0"/>
            <a:ext cx="764708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2015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D87C8EF3839C545AB193A847246D849" ma:contentTypeVersion="13" ma:contentTypeDescription="Ein neues Dokument erstellen." ma:contentTypeScope="" ma:versionID="ac6899570eb2e083267ef25f9ca5667b">
  <xsd:schema xmlns:xsd="http://www.w3.org/2001/XMLSchema" xmlns:xs="http://www.w3.org/2001/XMLSchema" xmlns:p="http://schemas.microsoft.com/office/2006/metadata/properties" xmlns:ns2="a9e18f9b-30e6-49bc-b414-8476344b0b96" xmlns:ns3="12cd998e-b4d0-40cb-b176-2dc56e991d34" targetNamespace="http://schemas.microsoft.com/office/2006/metadata/properties" ma:root="true" ma:fieldsID="aa274315fbb273bdc802cce75606f390" ns2:_="" ns3:_="">
    <xsd:import namespace="a9e18f9b-30e6-49bc-b414-8476344b0b96"/>
    <xsd:import namespace="12cd998e-b4d0-40cb-b176-2dc56e991d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e18f9b-30e6-49bc-b414-8476344b0b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cd998e-b4d0-40cb-b176-2dc56e991d34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5A5F6F-4E0B-4D1C-B9E4-42AEF097D263}">
  <ds:schemaRefs>
    <ds:schemaRef ds:uri="http://schemas.openxmlformats.org/package/2006/metadata/core-properties"/>
    <ds:schemaRef ds:uri="http://www.w3.org/XML/1998/namespace"/>
    <ds:schemaRef ds:uri="12cd998e-b4d0-40cb-b176-2dc56e991d34"/>
    <ds:schemaRef ds:uri="a9e18f9b-30e6-49bc-b414-8476344b0b96"/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A8D2B38-E3AB-4100-9742-CFA15B594C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F77B01-3D3A-4469-9814-FA4CE4E39E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e18f9b-30e6-49bc-b414-8476344b0b96"/>
    <ds:schemaRef ds:uri="12cd998e-b4d0-40cb-b176-2dc56e991d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</Template>
  <TotalTime>0</TotalTime>
  <Words>694</Words>
  <Application>Microsoft Office PowerPoint</Application>
  <PresentationFormat>Breitbild</PresentationFormat>
  <Paragraphs>179</Paragraphs>
  <Slides>1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1" baseType="lpstr">
      <vt:lpstr>Frutiger LT Com 75 Black</vt:lpstr>
      <vt:lpstr>Frutiger LT Com 65 Bold</vt:lpstr>
      <vt:lpstr>Wingdings</vt:lpstr>
      <vt:lpstr>Frutiger LT Com 45 Light</vt:lpstr>
      <vt:lpstr>Arial</vt:lpstr>
      <vt:lpstr>Fraunhofer_Master_16-9</vt:lpstr>
      <vt:lpstr>think-cell Folie</vt:lpstr>
      <vt:lpstr>PowerPoint-Präsentation</vt:lpstr>
      <vt:lpstr>Pillars of a Data Space</vt:lpstr>
      <vt:lpstr>New Data Sharing Challenges</vt:lpstr>
      <vt:lpstr>PowerPoint-Präsentation</vt:lpstr>
      <vt:lpstr>Quick Facts</vt:lpstr>
      <vt:lpstr>Contributors, Committers &amp; Partners</vt:lpstr>
      <vt:lpstr>Design Principles</vt:lpstr>
      <vt:lpstr>Technical Capabilities</vt:lpstr>
      <vt:lpstr>Eco-system Integration</vt:lpstr>
      <vt:lpstr>Alignment with Gaia-X</vt:lpstr>
      <vt:lpstr>Alignment with IDSA</vt:lpstr>
      <vt:lpstr>Important Links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mpus, Julia</dc:creator>
  <cp:lastModifiedBy>Pampus, Julia</cp:lastModifiedBy>
  <cp:revision>581</cp:revision>
  <dcterms:created xsi:type="dcterms:W3CDTF">2022-03-11T10:02:53Z</dcterms:created>
  <dcterms:modified xsi:type="dcterms:W3CDTF">2022-05-23T06:5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87C8EF3839C545AB193A847246D849</vt:lpwstr>
  </property>
</Properties>
</file>